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4" r:id="rId4"/>
  </p:sldMasterIdLst>
  <p:notesMasterIdLst>
    <p:notesMasterId r:id="rId18"/>
  </p:notesMasterIdLst>
  <p:handoutMasterIdLst>
    <p:handoutMasterId r:id="rId19"/>
  </p:handoutMasterIdLst>
  <p:sldIdLst>
    <p:sldId id="1078" r:id="rId5"/>
    <p:sldId id="1080" r:id="rId6"/>
    <p:sldId id="1083" r:id="rId7"/>
    <p:sldId id="1082" r:id="rId8"/>
    <p:sldId id="1079" r:id="rId9"/>
    <p:sldId id="1085" r:id="rId10"/>
    <p:sldId id="1081" r:id="rId11"/>
    <p:sldId id="1084" r:id="rId12"/>
    <p:sldId id="1086" r:id="rId13"/>
    <p:sldId id="1087" r:id="rId14"/>
    <p:sldId id="1088" r:id="rId15"/>
    <p:sldId id="1089" r:id="rId16"/>
    <p:sldId id="1090" r:id="rId17"/>
  </p:sldIdLst>
  <p:sldSz cx="9144000" cy="6858000" type="screen4x3"/>
  <p:notesSz cx="6797675" cy="9926638"/>
  <p:custDataLst>
    <p:tags r:id="rId20"/>
  </p:custDataLst>
  <p:defaultTextStyle>
    <a:defPPr>
      <a:defRPr lang="en-AU"/>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44D7150-6DD1-4DCE-A2F9-23133AD8B1CC}">
          <p14:sldIdLst>
            <p14:sldId id="1078"/>
            <p14:sldId id="1080"/>
            <p14:sldId id="1083"/>
            <p14:sldId id="1082"/>
            <p14:sldId id="1079"/>
            <p14:sldId id="1085"/>
            <p14:sldId id="1081"/>
            <p14:sldId id="1084"/>
            <p14:sldId id="1086"/>
            <p14:sldId id="1087"/>
            <p14:sldId id="1088"/>
            <p14:sldId id="1089"/>
            <p14:sldId id="109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kano, Zanele W." initials="SZW" lastIdx="2" clrIdx="0">
    <p:extLst>
      <p:ext uri="{19B8F6BF-5375-455C-9EA6-DF929625EA0E}">
        <p15:presenceInfo xmlns:p15="http://schemas.microsoft.com/office/powerpoint/2012/main" userId="S-1-5-21-329068152-1454471165-1417001333-4801368" providerId="AD"/>
      </p:ext>
    </p:extLst>
  </p:cmAuthor>
  <p:cmAuthor id="2" name="Jenna Lavagna" initials="JL" lastIdx="26" clrIdx="1">
    <p:extLst>
      <p:ext uri="{19B8F6BF-5375-455C-9EA6-DF929625EA0E}">
        <p15:presenceInfo xmlns:p15="http://schemas.microsoft.com/office/powerpoint/2012/main" userId="S-1-5-21-1014555262-2533713620-2411528117-1171" providerId="AD"/>
      </p:ext>
    </p:extLst>
  </p:cmAuthor>
  <p:cmAuthor id="3" name="Rossolimos, Sam" initials="RS" lastIdx="30" clrIdx="2">
    <p:extLst>
      <p:ext uri="{19B8F6BF-5375-455C-9EA6-DF929625EA0E}">
        <p15:presenceInfo xmlns:p15="http://schemas.microsoft.com/office/powerpoint/2012/main" userId="S-1-5-21-329068152-1454471165-1417001333-42772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963C"/>
    <a:srgbClr val="FF9933"/>
    <a:srgbClr val="CCFFCC"/>
    <a:srgbClr val="0000FF"/>
    <a:srgbClr val="FF0066"/>
    <a:srgbClr val="008000"/>
    <a:srgbClr val="33CC33"/>
    <a:srgbClr val="66AA44"/>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278" autoAdjust="0"/>
  </p:normalViewPr>
  <p:slideViewPr>
    <p:cSldViewPr snapToGrid="0">
      <p:cViewPr>
        <p:scale>
          <a:sx n="80" d="100"/>
          <a:sy n="80" d="100"/>
        </p:scale>
        <p:origin x="904" y="-916"/>
      </p:cViewPr>
      <p:guideLst>
        <p:guide orient="horz" pos="2160"/>
        <p:guide pos="2880"/>
      </p:guideLst>
    </p:cSldViewPr>
  </p:slideViewPr>
  <p:outlineViewPr>
    <p:cViewPr>
      <p:scale>
        <a:sx n="33" d="100"/>
        <a:sy n="33" d="100"/>
      </p:scale>
      <p:origin x="0" y="-174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D0D796-B526-4114-8D73-7673D1317CC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1702E1A-8C24-4332-BFE5-3A7034418443}">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2000" kern="1200" dirty="0">
              <a:solidFill>
                <a:srgbClr val="FFFFFF"/>
              </a:solidFill>
              <a:latin typeface="Arial"/>
              <a:ea typeface="+mn-ea"/>
              <a:cs typeface="+mn-cs"/>
            </a:rPr>
            <a:t>CEO</a:t>
          </a:r>
        </a:p>
      </dgm:t>
    </dgm:pt>
    <dgm:pt modelId="{378E369B-17B3-47BE-AF7F-F72702104005}" type="parTrans" cxnId="{5FF9BB97-B75D-4598-B232-3AF240BAB212}">
      <dgm:prSet/>
      <dgm:spPr/>
      <dgm:t>
        <a:bodyPr/>
        <a:lstStyle/>
        <a:p>
          <a:endParaRPr lang="en-US"/>
        </a:p>
      </dgm:t>
    </dgm:pt>
    <dgm:pt modelId="{56A0057D-7437-4C3D-B6EA-86F06015DB39}" type="sibTrans" cxnId="{5FF9BB97-B75D-4598-B232-3AF240BAB212}">
      <dgm:prSet/>
      <dgm:spPr/>
      <dgm:t>
        <a:bodyPr/>
        <a:lstStyle/>
        <a:p>
          <a:endParaRPr lang="en-US"/>
        </a:p>
      </dgm:t>
    </dgm:pt>
    <dgm:pt modelId="{B7715E49-CB37-42A8-93EB-26B9256E039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Finance</a:t>
          </a:r>
        </a:p>
      </dgm:t>
    </dgm:pt>
    <dgm:pt modelId="{7A281424-AA4E-4AE1-9BC7-4228A165A16E}" type="parTrans" cxnId="{306B399C-B76A-4474-953B-4E4F34D19EFB}">
      <dgm:prSet/>
      <dgm:spPr/>
      <dgm:t>
        <a:bodyPr/>
        <a:lstStyle/>
        <a:p>
          <a:endParaRPr lang="en-US"/>
        </a:p>
      </dgm:t>
    </dgm:pt>
    <dgm:pt modelId="{4677766E-D795-4484-9AB8-ED92F5E130A1}" type="sibTrans" cxnId="{306B399C-B76A-4474-953B-4E4F34D19EFB}">
      <dgm:prSet/>
      <dgm:spPr/>
      <dgm:t>
        <a:bodyPr/>
        <a:lstStyle/>
        <a:p>
          <a:endParaRPr lang="en-US"/>
        </a:p>
      </dgm:t>
    </dgm:pt>
    <dgm:pt modelId="{5EDEE9A5-8BB2-4C78-B59A-C620645472A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666750">
            <a:lnSpc>
              <a:spcPct val="90000"/>
            </a:lnSpc>
            <a:spcBef>
              <a:spcPct val="0"/>
            </a:spcBef>
            <a:spcAft>
              <a:spcPct val="35000"/>
            </a:spcAft>
            <a:buNone/>
          </a:pPr>
          <a:r>
            <a:rPr lang="en-US" sz="1500" kern="1200" dirty="0">
              <a:solidFill>
                <a:srgbClr val="FFFFFF"/>
              </a:solidFill>
              <a:latin typeface="Arial"/>
              <a:ea typeface="+mn-ea"/>
              <a:cs typeface="+mn-cs"/>
            </a:rPr>
            <a:t>Marketing</a:t>
          </a:r>
        </a:p>
      </dgm:t>
    </dgm:pt>
    <dgm:pt modelId="{B0E82E3C-2AFE-4EBC-A376-52B54F08FA70}" type="parTrans" cxnId="{9DD231B0-526D-4C42-8D66-D1155C2DF28C}">
      <dgm:prSet/>
      <dgm:spPr/>
      <dgm:t>
        <a:bodyPr/>
        <a:lstStyle/>
        <a:p>
          <a:endParaRPr lang="en-US"/>
        </a:p>
      </dgm:t>
    </dgm:pt>
    <dgm:pt modelId="{528FE2EE-7CF0-4B3F-ADA6-1C9D7D106988}" type="sibTrans" cxnId="{9DD231B0-526D-4C42-8D66-D1155C2DF28C}">
      <dgm:prSet/>
      <dgm:spPr/>
      <dgm:t>
        <a:bodyPr/>
        <a:lstStyle/>
        <a:p>
          <a:endParaRPr lang="en-US"/>
        </a:p>
      </dgm:t>
    </dgm:pt>
    <dgm:pt modelId="{2440F923-2C76-4F7E-9140-7ED1D8AC824F}">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R&amp;D</a:t>
          </a:r>
        </a:p>
      </dgm:t>
    </dgm:pt>
    <dgm:pt modelId="{170D74BA-8B88-4C08-B883-5C555A0567F3}" type="parTrans" cxnId="{872CB1B2-09F2-461F-BF28-05281E7AB157}">
      <dgm:prSet/>
      <dgm:spPr/>
      <dgm:t>
        <a:bodyPr/>
        <a:lstStyle/>
        <a:p>
          <a:endParaRPr lang="en-US"/>
        </a:p>
      </dgm:t>
    </dgm:pt>
    <dgm:pt modelId="{0D25BB81-5FBE-4A6D-B658-B11CEB207D65}" type="sibTrans" cxnId="{872CB1B2-09F2-461F-BF28-05281E7AB157}">
      <dgm:prSet/>
      <dgm:spPr/>
      <dgm:t>
        <a:bodyPr/>
        <a:lstStyle/>
        <a:p>
          <a:endParaRPr lang="en-US"/>
        </a:p>
      </dgm:t>
    </dgm:pt>
    <dgm:pt modelId="{D1B01E04-DBE5-4AAC-80E3-BE1B02535698}">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IT</a:t>
          </a:r>
        </a:p>
      </dgm:t>
    </dgm:pt>
    <dgm:pt modelId="{A5EB9241-C55F-4B72-AF62-CF087E47E33A}" type="parTrans" cxnId="{59DBE108-632B-455D-B578-D62B7F86DE17}">
      <dgm:prSet/>
      <dgm:spPr/>
      <dgm:t>
        <a:bodyPr/>
        <a:lstStyle/>
        <a:p>
          <a:endParaRPr lang="en-US"/>
        </a:p>
      </dgm:t>
    </dgm:pt>
    <dgm:pt modelId="{4FC28E29-A81F-44A9-A416-0950E9B750A7}" type="sibTrans" cxnId="{59DBE108-632B-455D-B578-D62B7F86DE17}">
      <dgm:prSet/>
      <dgm:spPr/>
      <dgm:t>
        <a:bodyPr/>
        <a:lstStyle/>
        <a:p>
          <a:endParaRPr lang="en-US"/>
        </a:p>
      </dgm:t>
    </dgm:pt>
    <dgm:pt modelId="{0B98EF90-8058-4EEA-8B66-4E3267180188}">
      <dgm:prSet phldrT="[Text]"/>
      <dgm:spPr>
        <a:solidFill>
          <a:srgbClr val="5A963C"/>
        </a:solidFill>
      </dgm:spPr>
      <dgm:t>
        <a:bodyPr/>
        <a:lstStyle/>
        <a:p>
          <a:r>
            <a:rPr lang="en-US" dirty="0"/>
            <a:t>Production</a:t>
          </a:r>
        </a:p>
      </dgm:t>
    </dgm:pt>
    <dgm:pt modelId="{C240C59F-BF1F-41F4-BEFD-11232849915A}" type="parTrans" cxnId="{3EF5B86C-5DBD-4598-97F0-04270381B244}">
      <dgm:prSet/>
      <dgm:spPr/>
      <dgm:t>
        <a:bodyPr/>
        <a:lstStyle/>
        <a:p>
          <a:endParaRPr lang="en-US"/>
        </a:p>
      </dgm:t>
    </dgm:pt>
    <dgm:pt modelId="{41EDA2DF-C53D-4CCB-B934-3AB7FC7D94A1}" type="sibTrans" cxnId="{3EF5B86C-5DBD-4598-97F0-04270381B244}">
      <dgm:prSet/>
      <dgm:spPr/>
      <dgm:t>
        <a:bodyPr/>
        <a:lstStyle/>
        <a:p>
          <a:endParaRPr lang="en-US"/>
        </a:p>
      </dgm:t>
    </dgm:pt>
    <dgm:pt modelId="{37CBB741-F8BE-43A4-9834-81B41F0A9D76}">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HR</a:t>
          </a:r>
        </a:p>
      </dgm:t>
    </dgm:pt>
    <dgm:pt modelId="{13E693C0-4A49-45D2-9045-7780AED0E924}" type="sibTrans" cxnId="{B9B69171-8638-4C0A-B500-25802B30EE40}">
      <dgm:prSet/>
      <dgm:spPr/>
      <dgm:t>
        <a:bodyPr/>
        <a:lstStyle/>
        <a:p>
          <a:endParaRPr lang="en-US"/>
        </a:p>
      </dgm:t>
    </dgm:pt>
    <dgm:pt modelId="{5FD14574-84FC-405C-B1DA-AC916A4C7082}" type="parTrans" cxnId="{B9B69171-8638-4C0A-B500-25802B30EE40}">
      <dgm:prSet/>
      <dgm:spPr/>
      <dgm:t>
        <a:bodyPr/>
        <a:lstStyle/>
        <a:p>
          <a:endParaRPr lang="en-US"/>
        </a:p>
      </dgm:t>
    </dgm:pt>
    <dgm:pt modelId="{9954561C-523B-417D-A530-7A44554EA1E2}" type="pres">
      <dgm:prSet presAssocID="{E9D0D796-B526-4114-8D73-7673D1317CCB}" presName="hierChild1" presStyleCnt="0">
        <dgm:presLayoutVars>
          <dgm:orgChart val="1"/>
          <dgm:chPref val="1"/>
          <dgm:dir/>
          <dgm:animOne val="branch"/>
          <dgm:animLvl val="lvl"/>
          <dgm:resizeHandles/>
        </dgm:presLayoutVars>
      </dgm:prSet>
      <dgm:spPr/>
    </dgm:pt>
    <dgm:pt modelId="{EBE43BEC-AE1B-4242-BB8C-CED9801E4AD5}" type="pres">
      <dgm:prSet presAssocID="{61702E1A-8C24-4332-BFE5-3A7034418443}" presName="hierRoot1" presStyleCnt="0">
        <dgm:presLayoutVars>
          <dgm:hierBranch val="init"/>
        </dgm:presLayoutVars>
      </dgm:prSet>
      <dgm:spPr/>
    </dgm:pt>
    <dgm:pt modelId="{DBCD6BD8-CDA0-47C9-935F-A743E66D6325}" type="pres">
      <dgm:prSet presAssocID="{61702E1A-8C24-4332-BFE5-3A7034418443}" presName="rootComposite1" presStyleCnt="0"/>
      <dgm:spPr/>
    </dgm:pt>
    <dgm:pt modelId="{0BB355A1-E3BE-493E-A491-0B78238D29B3}" type="pres">
      <dgm:prSet presAssocID="{61702E1A-8C24-4332-BFE5-3A7034418443}" presName="rootText1" presStyleLbl="node0" presStyleIdx="0" presStyleCnt="1">
        <dgm:presLayoutVars>
          <dgm:chPref val="3"/>
        </dgm:presLayoutVars>
      </dgm:prSet>
      <dgm:spPr>
        <a:xfrm>
          <a:off x="3772911" y="1533561"/>
          <a:ext cx="1246323" cy="623161"/>
        </a:xfrm>
        <a:prstGeom prst="rect">
          <a:avLst/>
        </a:prstGeom>
      </dgm:spPr>
    </dgm:pt>
    <dgm:pt modelId="{EE37978E-2E57-4245-A1B3-FEC51D7A7A43}" type="pres">
      <dgm:prSet presAssocID="{61702E1A-8C24-4332-BFE5-3A7034418443}" presName="rootConnector1" presStyleLbl="node1" presStyleIdx="0" presStyleCnt="0"/>
      <dgm:spPr/>
    </dgm:pt>
    <dgm:pt modelId="{563FF183-F9A3-45CF-AF8D-375A36A3E689}" type="pres">
      <dgm:prSet presAssocID="{61702E1A-8C24-4332-BFE5-3A7034418443}" presName="hierChild2" presStyleCnt="0"/>
      <dgm:spPr/>
    </dgm:pt>
    <dgm:pt modelId="{13F37704-7AB9-4720-BCFF-95B3CABC0E89}" type="pres">
      <dgm:prSet presAssocID="{7A281424-AA4E-4AE1-9BC7-4228A165A16E}" presName="Name37" presStyleLbl="parChTrans1D2" presStyleIdx="0" presStyleCnt="6"/>
      <dgm:spPr/>
    </dgm:pt>
    <dgm:pt modelId="{68376028-7FC8-490F-8168-BE7900F7B966}" type="pres">
      <dgm:prSet presAssocID="{B7715E49-CB37-42A8-93EB-26B9256E039A}" presName="hierRoot2" presStyleCnt="0">
        <dgm:presLayoutVars>
          <dgm:hierBranch val="init"/>
        </dgm:presLayoutVars>
      </dgm:prSet>
      <dgm:spPr/>
    </dgm:pt>
    <dgm:pt modelId="{659F7343-C5F5-43CB-B3CD-D6F0B3DAFAF1}" type="pres">
      <dgm:prSet presAssocID="{B7715E49-CB37-42A8-93EB-26B9256E039A}" presName="rootComposite" presStyleCnt="0"/>
      <dgm:spPr/>
    </dgm:pt>
    <dgm:pt modelId="{025D5DD2-2453-44D0-86FD-328B8F97FA3B}" type="pres">
      <dgm:prSet presAssocID="{B7715E49-CB37-42A8-93EB-26B9256E039A}" presName="rootText" presStyleLbl="node2" presStyleIdx="0" presStyleCnt="6">
        <dgm:presLayoutVars>
          <dgm:chPref val="3"/>
        </dgm:presLayoutVars>
      </dgm:prSet>
      <dgm:spPr>
        <a:xfrm>
          <a:off x="2783" y="2418451"/>
          <a:ext cx="1246323" cy="623161"/>
        </a:xfrm>
        <a:prstGeom prst="rect">
          <a:avLst/>
        </a:prstGeom>
      </dgm:spPr>
    </dgm:pt>
    <dgm:pt modelId="{BE20F505-37C5-4981-8355-32460C67E036}" type="pres">
      <dgm:prSet presAssocID="{B7715E49-CB37-42A8-93EB-26B9256E039A}" presName="rootConnector" presStyleLbl="node2" presStyleIdx="0" presStyleCnt="6"/>
      <dgm:spPr/>
    </dgm:pt>
    <dgm:pt modelId="{9AE5E51B-F939-497D-B5A7-3AB0BC8D45A5}" type="pres">
      <dgm:prSet presAssocID="{B7715E49-CB37-42A8-93EB-26B9256E039A}" presName="hierChild4" presStyleCnt="0"/>
      <dgm:spPr/>
    </dgm:pt>
    <dgm:pt modelId="{DED7F2B7-0299-4CD6-95F8-3B227AE5DB33}" type="pres">
      <dgm:prSet presAssocID="{B7715E49-CB37-42A8-93EB-26B9256E039A}" presName="hierChild5" presStyleCnt="0"/>
      <dgm:spPr/>
    </dgm:pt>
    <dgm:pt modelId="{EFACC231-73A8-40AA-A60B-55C60897B09D}" type="pres">
      <dgm:prSet presAssocID="{5FD14574-84FC-405C-B1DA-AC916A4C7082}" presName="Name37" presStyleLbl="parChTrans1D2" presStyleIdx="1" presStyleCnt="6"/>
      <dgm:spPr/>
    </dgm:pt>
    <dgm:pt modelId="{6BE98EE2-41DE-4E46-9CCB-7B9D310919C9}" type="pres">
      <dgm:prSet presAssocID="{37CBB741-F8BE-43A4-9834-81B41F0A9D76}" presName="hierRoot2" presStyleCnt="0">
        <dgm:presLayoutVars>
          <dgm:hierBranch val="init"/>
        </dgm:presLayoutVars>
      </dgm:prSet>
      <dgm:spPr/>
    </dgm:pt>
    <dgm:pt modelId="{A5187002-1188-4803-A511-C81155CF8167}" type="pres">
      <dgm:prSet presAssocID="{37CBB741-F8BE-43A4-9834-81B41F0A9D76}" presName="rootComposite" presStyleCnt="0"/>
      <dgm:spPr/>
    </dgm:pt>
    <dgm:pt modelId="{9D0B82E0-15FF-4788-ADE7-B5010DABD6C4}" type="pres">
      <dgm:prSet presAssocID="{37CBB741-F8BE-43A4-9834-81B41F0A9D76}" presName="rootText" presStyleLbl="node2" presStyleIdx="1" presStyleCnt="6">
        <dgm:presLayoutVars>
          <dgm:chPref val="3"/>
        </dgm:presLayoutVars>
      </dgm:prSet>
      <dgm:spPr>
        <a:xfrm>
          <a:off x="1510834" y="2418451"/>
          <a:ext cx="1246323" cy="623161"/>
        </a:xfrm>
        <a:prstGeom prst="rect">
          <a:avLst/>
        </a:prstGeom>
      </dgm:spPr>
    </dgm:pt>
    <dgm:pt modelId="{25D61B8A-6E9B-465F-8ADB-B71251FB7066}" type="pres">
      <dgm:prSet presAssocID="{37CBB741-F8BE-43A4-9834-81B41F0A9D76}" presName="rootConnector" presStyleLbl="node2" presStyleIdx="1" presStyleCnt="6"/>
      <dgm:spPr/>
    </dgm:pt>
    <dgm:pt modelId="{162B80C8-C50E-4083-B018-266CFF108AF4}" type="pres">
      <dgm:prSet presAssocID="{37CBB741-F8BE-43A4-9834-81B41F0A9D76}" presName="hierChild4" presStyleCnt="0"/>
      <dgm:spPr/>
    </dgm:pt>
    <dgm:pt modelId="{EA1A0330-AB73-4408-A3C7-339CEB200316}" type="pres">
      <dgm:prSet presAssocID="{37CBB741-F8BE-43A4-9834-81B41F0A9D76}" presName="hierChild5" presStyleCnt="0"/>
      <dgm:spPr/>
    </dgm:pt>
    <dgm:pt modelId="{9FD3F6AD-69D2-444D-AA78-50EF7A406B4A}" type="pres">
      <dgm:prSet presAssocID="{B0E82E3C-2AFE-4EBC-A376-52B54F08FA70}" presName="Name37" presStyleLbl="parChTrans1D2" presStyleIdx="2" presStyleCnt="6"/>
      <dgm:spPr/>
    </dgm:pt>
    <dgm:pt modelId="{B4F0CAD2-1A91-433C-AF01-D9FCC950C7BC}" type="pres">
      <dgm:prSet presAssocID="{5EDEE9A5-8BB2-4C78-B59A-C620645472AA}" presName="hierRoot2" presStyleCnt="0">
        <dgm:presLayoutVars>
          <dgm:hierBranch val="init"/>
        </dgm:presLayoutVars>
      </dgm:prSet>
      <dgm:spPr/>
    </dgm:pt>
    <dgm:pt modelId="{096A6E3E-A5D3-4623-B2C2-DDB3DB5BEF75}" type="pres">
      <dgm:prSet presAssocID="{5EDEE9A5-8BB2-4C78-B59A-C620645472AA}" presName="rootComposite" presStyleCnt="0"/>
      <dgm:spPr/>
    </dgm:pt>
    <dgm:pt modelId="{12256991-FCF6-41AB-BBB2-C19F93D4D559}" type="pres">
      <dgm:prSet presAssocID="{5EDEE9A5-8BB2-4C78-B59A-C620645472AA}" presName="rootText" presStyleLbl="node2" presStyleIdx="2" presStyleCnt="6">
        <dgm:presLayoutVars>
          <dgm:chPref val="3"/>
        </dgm:presLayoutVars>
      </dgm:prSet>
      <dgm:spPr>
        <a:xfrm>
          <a:off x="3018886" y="2418451"/>
          <a:ext cx="1246323" cy="623161"/>
        </a:xfrm>
        <a:prstGeom prst="rect">
          <a:avLst/>
        </a:prstGeom>
      </dgm:spPr>
    </dgm:pt>
    <dgm:pt modelId="{C5DE96EA-2C59-4562-AD5A-A497BF81E89A}" type="pres">
      <dgm:prSet presAssocID="{5EDEE9A5-8BB2-4C78-B59A-C620645472AA}" presName="rootConnector" presStyleLbl="node2" presStyleIdx="2" presStyleCnt="6"/>
      <dgm:spPr/>
    </dgm:pt>
    <dgm:pt modelId="{698F3050-A6E4-4DCE-B47B-8A1C4111E3CF}" type="pres">
      <dgm:prSet presAssocID="{5EDEE9A5-8BB2-4C78-B59A-C620645472AA}" presName="hierChild4" presStyleCnt="0"/>
      <dgm:spPr/>
    </dgm:pt>
    <dgm:pt modelId="{40EDAB03-9458-436E-8A79-AF519120097D}" type="pres">
      <dgm:prSet presAssocID="{5EDEE9A5-8BB2-4C78-B59A-C620645472AA}" presName="hierChild5" presStyleCnt="0"/>
      <dgm:spPr/>
    </dgm:pt>
    <dgm:pt modelId="{C633100F-1A64-4E01-BF38-7D3EDC99C509}" type="pres">
      <dgm:prSet presAssocID="{170D74BA-8B88-4C08-B883-5C555A0567F3}" presName="Name37" presStyleLbl="parChTrans1D2" presStyleIdx="3" presStyleCnt="6"/>
      <dgm:spPr/>
    </dgm:pt>
    <dgm:pt modelId="{F4F93A46-6E90-4BEA-99D7-DAE06509552F}" type="pres">
      <dgm:prSet presAssocID="{2440F923-2C76-4F7E-9140-7ED1D8AC824F}" presName="hierRoot2" presStyleCnt="0">
        <dgm:presLayoutVars>
          <dgm:hierBranch val="init"/>
        </dgm:presLayoutVars>
      </dgm:prSet>
      <dgm:spPr/>
    </dgm:pt>
    <dgm:pt modelId="{CEB0A20A-52A8-41E6-A02B-53293E1AC448}" type="pres">
      <dgm:prSet presAssocID="{2440F923-2C76-4F7E-9140-7ED1D8AC824F}" presName="rootComposite" presStyleCnt="0"/>
      <dgm:spPr/>
    </dgm:pt>
    <dgm:pt modelId="{BF425478-C3F2-48B9-9977-61E27B5792C2}" type="pres">
      <dgm:prSet presAssocID="{2440F923-2C76-4F7E-9140-7ED1D8AC824F}" presName="rootText" presStyleLbl="node2" presStyleIdx="3" presStyleCnt="6">
        <dgm:presLayoutVars>
          <dgm:chPref val="3"/>
        </dgm:presLayoutVars>
      </dgm:prSet>
      <dgm:spPr>
        <a:xfrm>
          <a:off x="4526937" y="2418451"/>
          <a:ext cx="1246323" cy="623161"/>
        </a:xfrm>
        <a:prstGeom prst="rect">
          <a:avLst/>
        </a:prstGeom>
      </dgm:spPr>
    </dgm:pt>
    <dgm:pt modelId="{2FA082EE-A532-47E1-B7A3-879DCFB49C0F}" type="pres">
      <dgm:prSet presAssocID="{2440F923-2C76-4F7E-9140-7ED1D8AC824F}" presName="rootConnector" presStyleLbl="node2" presStyleIdx="3" presStyleCnt="6"/>
      <dgm:spPr/>
    </dgm:pt>
    <dgm:pt modelId="{5333021F-0B4E-4C71-BF04-C2D435E11059}" type="pres">
      <dgm:prSet presAssocID="{2440F923-2C76-4F7E-9140-7ED1D8AC824F}" presName="hierChild4" presStyleCnt="0"/>
      <dgm:spPr/>
    </dgm:pt>
    <dgm:pt modelId="{F7E38367-6FD2-4749-911B-53D07C208BC6}" type="pres">
      <dgm:prSet presAssocID="{2440F923-2C76-4F7E-9140-7ED1D8AC824F}" presName="hierChild5" presStyleCnt="0"/>
      <dgm:spPr/>
    </dgm:pt>
    <dgm:pt modelId="{B1035675-5CD6-4783-B08C-DEA8FB157A96}" type="pres">
      <dgm:prSet presAssocID="{A5EB9241-C55F-4B72-AF62-CF087E47E33A}" presName="Name37" presStyleLbl="parChTrans1D2" presStyleIdx="4" presStyleCnt="6"/>
      <dgm:spPr/>
    </dgm:pt>
    <dgm:pt modelId="{FC174E8E-CFB5-4A0A-96C0-556CA13934A5}" type="pres">
      <dgm:prSet presAssocID="{D1B01E04-DBE5-4AAC-80E3-BE1B02535698}" presName="hierRoot2" presStyleCnt="0">
        <dgm:presLayoutVars>
          <dgm:hierBranch val="init"/>
        </dgm:presLayoutVars>
      </dgm:prSet>
      <dgm:spPr/>
    </dgm:pt>
    <dgm:pt modelId="{822307CB-1688-457F-B2E7-547B15420C73}" type="pres">
      <dgm:prSet presAssocID="{D1B01E04-DBE5-4AAC-80E3-BE1B02535698}" presName="rootComposite" presStyleCnt="0"/>
      <dgm:spPr/>
    </dgm:pt>
    <dgm:pt modelId="{2B6C4597-25EC-4443-B376-6E9E2BE59A78}" type="pres">
      <dgm:prSet presAssocID="{D1B01E04-DBE5-4AAC-80E3-BE1B02535698}" presName="rootText" presStyleLbl="node2" presStyleIdx="4" presStyleCnt="6">
        <dgm:presLayoutVars>
          <dgm:chPref val="3"/>
        </dgm:presLayoutVars>
      </dgm:prSet>
      <dgm:spPr>
        <a:xfrm>
          <a:off x="6034988" y="2418451"/>
          <a:ext cx="1246323" cy="623161"/>
        </a:xfrm>
        <a:prstGeom prst="rect">
          <a:avLst/>
        </a:prstGeom>
      </dgm:spPr>
    </dgm:pt>
    <dgm:pt modelId="{EF052C23-7781-4555-A9A0-8FA1B8369DD9}" type="pres">
      <dgm:prSet presAssocID="{D1B01E04-DBE5-4AAC-80E3-BE1B02535698}" presName="rootConnector" presStyleLbl="node2" presStyleIdx="4" presStyleCnt="6"/>
      <dgm:spPr/>
    </dgm:pt>
    <dgm:pt modelId="{70177C24-7386-496D-B248-92E22069BF8F}" type="pres">
      <dgm:prSet presAssocID="{D1B01E04-DBE5-4AAC-80E3-BE1B02535698}" presName="hierChild4" presStyleCnt="0"/>
      <dgm:spPr/>
    </dgm:pt>
    <dgm:pt modelId="{8F6E13D9-FB97-41C7-9872-0AF003D96B4B}" type="pres">
      <dgm:prSet presAssocID="{D1B01E04-DBE5-4AAC-80E3-BE1B02535698}" presName="hierChild5" presStyleCnt="0"/>
      <dgm:spPr/>
    </dgm:pt>
    <dgm:pt modelId="{50F37E22-875A-4743-B1FD-419355DC370A}" type="pres">
      <dgm:prSet presAssocID="{C240C59F-BF1F-41F4-BEFD-11232849915A}" presName="Name37" presStyleLbl="parChTrans1D2" presStyleIdx="5" presStyleCnt="6"/>
      <dgm:spPr/>
    </dgm:pt>
    <dgm:pt modelId="{B4EAF952-1C68-4C30-BD5A-84BEAB4E885F}" type="pres">
      <dgm:prSet presAssocID="{0B98EF90-8058-4EEA-8B66-4E3267180188}" presName="hierRoot2" presStyleCnt="0">
        <dgm:presLayoutVars>
          <dgm:hierBranch val="init"/>
        </dgm:presLayoutVars>
      </dgm:prSet>
      <dgm:spPr/>
    </dgm:pt>
    <dgm:pt modelId="{A3719751-2540-4EBB-8F7C-E5C8B42D26CD}" type="pres">
      <dgm:prSet presAssocID="{0B98EF90-8058-4EEA-8B66-4E3267180188}" presName="rootComposite" presStyleCnt="0"/>
      <dgm:spPr/>
    </dgm:pt>
    <dgm:pt modelId="{E6385154-4BEC-48F2-810C-490782F3498C}" type="pres">
      <dgm:prSet presAssocID="{0B98EF90-8058-4EEA-8B66-4E3267180188}" presName="rootText" presStyleLbl="node2" presStyleIdx="5" presStyleCnt="6">
        <dgm:presLayoutVars>
          <dgm:chPref val="3"/>
        </dgm:presLayoutVars>
      </dgm:prSet>
      <dgm:spPr/>
    </dgm:pt>
    <dgm:pt modelId="{66463D48-8B31-4ED7-ACEF-9FDAC5F5651B}" type="pres">
      <dgm:prSet presAssocID="{0B98EF90-8058-4EEA-8B66-4E3267180188}" presName="rootConnector" presStyleLbl="node2" presStyleIdx="5" presStyleCnt="6"/>
      <dgm:spPr/>
    </dgm:pt>
    <dgm:pt modelId="{BC4EA85D-724A-4E1D-ACC3-99EEE8BEFEF8}" type="pres">
      <dgm:prSet presAssocID="{0B98EF90-8058-4EEA-8B66-4E3267180188}" presName="hierChild4" presStyleCnt="0"/>
      <dgm:spPr/>
    </dgm:pt>
    <dgm:pt modelId="{24976D59-473E-4D43-B136-893BE5C1A399}" type="pres">
      <dgm:prSet presAssocID="{0B98EF90-8058-4EEA-8B66-4E3267180188}" presName="hierChild5" presStyleCnt="0"/>
      <dgm:spPr/>
    </dgm:pt>
    <dgm:pt modelId="{996B415F-1AE9-4E31-8843-55963849542A}" type="pres">
      <dgm:prSet presAssocID="{61702E1A-8C24-4332-BFE5-3A7034418443}" presName="hierChild3" presStyleCnt="0"/>
      <dgm:spPr/>
    </dgm:pt>
  </dgm:ptLst>
  <dgm:cxnLst>
    <dgm:cxn modelId="{872CB1B2-09F2-461F-BF28-05281E7AB157}" srcId="{61702E1A-8C24-4332-BFE5-3A7034418443}" destId="{2440F923-2C76-4F7E-9140-7ED1D8AC824F}" srcOrd="3" destOrd="0" parTransId="{170D74BA-8B88-4C08-B883-5C555A0567F3}" sibTransId="{0D25BB81-5FBE-4A6D-B658-B11CEB207D65}"/>
    <dgm:cxn modelId="{59DBE108-632B-455D-B578-D62B7F86DE17}" srcId="{61702E1A-8C24-4332-BFE5-3A7034418443}" destId="{D1B01E04-DBE5-4AAC-80E3-BE1B02535698}" srcOrd="4" destOrd="0" parTransId="{A5EB9241-C55F-4B72-AF62-CF087E47E33A}" sibTransId="{4FC28E29-A81F-44A9-A416-0950E9B750A7}"/>
    <dgm:cxn modelId="{69423844-5073-4468-81DE-1430DFF7E055}" type="presOf" srcId="{37CBB741-F8BE-43A4-9834-81B41F0A9D76}" destId="{25D61B8A-6E9B-465F-8ADB-B71251FB7066}" srcOrd="1" destOrd="0" presId="urn:microsoft.com/office/officeart/2005/8/layout/orgChart1"/>
    <dgm:cxn modelId="{CEFC176D-2700-4901-9845-8739A48D2C78}" type="presOf" srcId="{5EDEE9A5-8BB2-4C78-B59A-C620645472AA}" destId="{C5DE96EA-2C59-4562-AD5A-A497BF81E89A}" srcOrd="1" destOrd="0" presId="urn:microsoft.com/office/officeart/2005/8/layout/orgChart1"/>
    <dgm:cxn modelId="{76CFCF84-8A67-4AA7-A363-A92BE3B50838}" type="presOf" srcId="{37CBB741-F8BE-43A4-9834-81B41F0A9D76}" destId="{9D0B82E0-15FF-4788-ADE7-B5010DABD6C4}" srcOrd="0" destOrd="0" presId="urn:microsoft.com/office/officeart/2005/8/layout/orgChart1"/>
    <dgm:cxn modelId="{F2420CE0-A3CF-4FF8-A73E-5B07202D6729}" type="presOf" srcId="{0B98EF90-8058-4EEA-8B66-4E3267180188}" destId="{66463D48-8B31-4ED7-ACEF-9FDAC5F5651B}" srcOrd="1" destOrd="0" presId="urn:microsoft.com/office/officeart/2005/8/layout/orgChart1"/>
    <dgm:cxn modelId="{9569414D-C9A9-4B3F-9FB1-1C27E71A26BE}" type="presOf" srcId="{E9D0D796-B526-4114-8D73-7673D1317CCB}" destId="{9954561C-523B-417D-A530-7A44554EA1E2}" srcOrd="0" destOrd="0" presId="urn:microsoft.com/office/officeart/2005/8/layout/orgChart1"/>
    <dgm:cxn modelId="{3EF5B86C-5DBD-4598-97F0-04270381B244}" srcId="{61702E1A-8C24-4332-BFE5-3A7034418443}" destId="{0B98EF90-8058-4EEA-8B66-4E3267180188}" srcOrd="5" destOrd="0" parTransId="{C240C59F-BF1F-41F4-BEFD-11232849915A}" sibTransId="{41EDA2DF-C53D-4CCB-B934-3AB7FC7D94A1}"/>
    <dgm:cxn modelId="{6F060B09-A25F-4512-8915-C1AA697B57DA}" type="presOf" srcId="{B0E82E3C-2AFE-4EBC-A376-52B54F08FA70}" destId="{9FD3F6AD-69D2-444D-AA78-50EF7A406B4A}" srcOrd="0" destOrd="0" presId="urn:microsoft.com/office/officeart/2005/8/layout/orgChart1"/>
    <dgm:cxn modelId="{86AC200B-C28A-4702-A0E2-0A9FE3C2677D}" type="presOf" srcId="{2440F923-2C76-4F7E-9140-7ED1D8AC824F}" destId="{BF425478-C3F2-48B9-9977-61E27B5792C2}" srcOrd="0" destOrd="0" presId="urn:microsoft.com/office/officeart/2005/8/layout/orgChart1"/>
    <dgm:cxn modelId="{139D4917-A418-4E5D-A004-9C3EF1FC9030}" type="presOf" srcId="{A5EB9241-C55F-4B72-AF62-CF087E47E33A}" destId="{B1035675-5CD6-4783-B08C-DEA8FB157A96}" srcOrd="0" destOrd="0" presId="urn:microsoft.com/office/officeart/2005/8/layout/orgChart1"/>
    <dgm:cxn modelId="{306B399C-B76A-4474-953B-4E4F34D19EFB}" srcId="{61702E1A-8C24-4332-BFE5-3A7034418443}" destId="{B7715E49-CB37-42A8-93EB-26B9256E039A}" srcOrd="0" destOrd="0" parTransId="{7A281424-AA4E-4AE1-9BC7-4228A165A16E}" sibTransId="{4677766E-D795-4484-9AB8-ED92F5E130A1}"/>
    <dgm:cxn modelId="{B9B69171-8638-4C0A-B500-25802B30EE40}" srcId="{61702E1A-8C24-4332-BFE5-3A7034418443}" destId="{37CBB741-F8BE-43A4-9834-81B41F0A9D76}" srcOrd="1" destOrd="0" parTransId="{5FD14574-84FC-405C-B1DA-AC916A4C7082}" sibTransId="{13E693C0-4A49-45D2-9045-7780AED0E924}"/>
    <dgm:cxn modelId="{15B25F13-EBB4-4FB5-8009-2633270C2539}" type="presOf" srcId="{D1B01E04-DBE5-4AAC-80E3-BE1B02535698}" destId="{2B6C4597-25EC-4443-B376-6E9E2BE59A78}" srcOrd="0" destOrd="0" presId="urn:microsoft.com/office/officeart/2005/8/layout/orgChart1"/>
    <dgm:cxn modelId="{595126E7-13ED-46DE-8D38-00B2943902FA}" type="presOf" srcId="{C240C59F-BF1F-41F4-BEFD-11232849915A}" destId="{50F37E22-875A-4743-B1FD-419355DC370A}" srcOrd="0" destOrd="0" presId="urn:microsoft.com/office/officeart/2005/8/layout/orgChart1"/>
    <dgm:cxn modelId="{43EA01FC-9205-42B9-A1B9-3B82E1AA5C54}" type="presOf" srcId="{B7715E49-CB37-42A8-93EB-26B9256E039A}" destId="{025D5DD2-2453-44D0-86FD-328B8F97FA3B}" srcOrd="0" destOrd="0" presId="urn:microsoft.com/office/officeart/2005/8/layout/orgChart1"/>
    <dgm:cxn modelId="{64A129CE-2BD1-4522-AEDE-1B3CC7B9F083}" type="presOf" srcId="{7A281424-AA4E-4AE1-9BC7-4228A165A16E}" destId="{13F37704-7AB9-4720-BCFF-95B3CABC0E89}" srcOrd="0" destOrd="0" presId="urn:microsoft.com/office/officeart/2005/8/layout/orgChart1"/>
    <dgm:cxn modelId="{9DD231B0-526D-4C42-8D66-D1155C2DF28C}" srcId="{61702E1A-8C24-4332-BFE5-3A7034418443}" destId="{5EDEE9A5-8BB2-4C78-B59A-C620645472AA}" srcOrd="2" destOrd="0" parTransId="{B0E82E3C-2AFE-4EBC-A376-52B54F08FA70}" sibTransId="{528FE2EE-7CF0-4B3F-ADA6-1C9D7D106988}"/>
    <dgm:cxn modelId="{871E684A-FF1E-4E6C-9782-028F4909ECA4}" type="presOf" srcId="{2440F923-2C76-4F7E-9140-7ED1D8AC824F}" destId="{2FA082EE-A532-47E1-B7A3-879DCFB49C0F}" srcOrd="1" destOrd="0" presId="urn:microsoft.com/office/officeart/2005/8/layout/orgChart1"/>
    <dgm:cxn modelId="{784BDF9E-AB92-4052-A2F1-EAA6B739BBC5}" type="presOf" srcId="{61702E1A-8C24-4332-BFE5-3A7034418443}" destId="{0BB355A1-E3BE-493E-A491-0B78238D29B3}" srcOrd="0" destOrd="0" presId="urn:microsoft.com/office/officeart/2005/8/layout/orgChart1"/>
    <dgm:cxn modelId="{0C791F57-3650-4397-BB67-5170108F4396}" type="presOf" srcId="{D1B01E04-DBE5-4AAC-80E3-BE1B02535698}" destId="{EF052C23-7781-4555-A9A0-8FA1B8369DD9}" srcOrd="1" destOrd="0" presId="urn:microsoft.com/office/officeart/2005/8/layout/orgChart1"/>
    <dgm:cxn modelId="{65E140AE-22FF-4E43-9563-BEC18A6EAC3F}" type="presOf" srcId="{170D74BA-8B88-4C08-B883-5C555A0567F3}" destId="{C633100F-1A64-4E01-BF38-7D3EDC99C509}" srcOrd="0" destOrd="0" presId="urn:microsoft.com/office/officeart/2005/8/layout/orgChart1"/>
    <dgm:cxn modelId="{76F20B4F-C5B2-4D67-BD76-1388FD28500A}" type="presOf" srcId="{B7715E49-CB37-42A8-93EB-26B9256E039A}" destId="{BE20F505-37C5-4981-8355-32460C67E036}" srcOrd="1" destOrd="0" presId="urn:microsoft.com/office/officeart/2005/8/layout/orgChart1"/>
    <dgm:cxn modelId="{98D452AB-B923-4EA7-812E-A0B237EC716C}" type="presOf" srcId="{5FD14574-84FC-405C-B1DA-AC916A4C7082}" destId="{EFACC231-73A8-40AA-A60B-55C60897B09D}" srcOrd="0" destOrd="0" presId="urn:microsoft.com/office/officeart/2005/8/layout/orgChart1"/>
    <dgm:cxn modelId="{D601FA39-48B2-4106-A7CA-699BE6FFE92E}" type="presOf" srcId="{61702E1A-8C24-4332-BFE5-3A7034418443}" destId="{EE37978E-2E57-4245-A1B3-FEC51D7A7A43}" srcOrd="1" destOrd="0" presId="urn:microsoft.com/office/officeart/2005/8/layout/orgChart1"/>
    <dgm:cxn modelId="{53F93384-BB05-43AA-A5B5-FE8893B16E0F}" type="presOf" srcId="{0B98EF90-8058-4EEA-8B66-4E3267180188}" destId="{E6385154-4BEC-48F2-810C-490782F3498C}" srcOrd="0" destOrd="0" presId="urn:microsoft.com/office/officeart/2005/8/layout/orgChart1"/>
    <dgm:cxn modelId="{FF0C4535-D588-4FCB-AA96-1051F398D5CB}" type="presOf" srcId="{5EDEE9A5-8BB2-4C78-B59A-C620645472AA}" destId="{12256991-FCF6-41AB-BBB2-C19F93D4D559}" srcOrd="0" destOrd="0" presId="urn:microsoft.com/office/officeart/2005/8/layout/orgChart1"/>
    <dgm:cxn modelId="{5FF9BB97-B75D-4598-B232-3AF240BAB212}" srcId="{E9D0D796-B526-4114-8D73-7673D1317CCB}" destId="{61702E1A-8C24-4332-BFE5-3A7034418443}" srcOrd="0" destOrd="0" parTransId="{378E369B-17B3-47BE-AF7F-F72702104005}" sibTransId="{56A0057D-7437-4C3D-B6EA-86F06015DB39}"/>
    <dgm:cxn modelId="{32BA657C-45A0-4D4F-BD13-486DFB566099}" type="presParOf" srcId="{9954561C-523B-417D-A530-7A44554EA1E2}" destId="{EBE43BEC-AE1B-4242-BB8C-CED9801E4AD5}" srcOrd="0" destOrd="0" presId="urn:microsoft.com/office/officeart/2005/8/layout/orgChart1"/>
    <dgm:cxn modelId="{A4B382F8-DE62-48B2-BCB6-EBE3A8C40075}" type="presParOf" srcId="{EBE43BEC-AE1B-4242-BB8C-CED9801E4AD5}" destId="{DBCD6BD8-CDA0-47C9-935F-A743E66D6325}" srcOrd="0" destOrd="0" presId="urn:microsoft.com/office/officeart/2005/8/layout/orgChart1"/>
    <dgm:cxn modelId="{5E24A445-15C3-4AAC-B1DE-DC8878439DE0}" type="presParOf" srcId="{DBCD6BD8-CDA0-47C9-935F-A743E66D6325}" destId="{0BB355A1-E3BE-493E-A491-0B78238D29B3}" srcOrd="0" destOrd="0" presId="urn:microsoft.com/office/officeart/2005/8/layout/orgChart1"/>
    <dgm:cxn modelId="{98AB11BE-1028-4CBC-AE69-9AEC9C24B747}" type="presParOf" srcId="{DBCD6BD8-CDA0-47C9-935F-A743E66D6325}" destId="{EE37978E-2E57-4245-A1B3-FEC51D7A7A43}" srcOrd="1" destOrd="0" presId="urn:microsoft.com/office/officeart/2005/8/layout/orgChart1"/>
    <dgm:cxn modelId="{FFFB9D1B-1FAF-4F5B-A5D8-CC5557CFDE26}" type="presParOf" srcId="{EBE43BEC-AE1B-4242-BB8C-CED9801E4AD5}" destId="{563FF183-F9A3-45CF-AF8D-375A36A3E689}" srcOrd="1" destOrd="0" presId="urn:microsoft.com/office/officeart/2005/8/layout/orgChart1"/>
    <dgm:cxn modelId="{CC65C1A2-4733-475E-94A2-6910A35103DA}" type="presParOf" srcId="{563FF183-F9A3-45CF-AF8D-375A36A3E689}" destId="{13F37704-7AB9-4720-BCFF-95B3CABC0E89}" srcOrd="0" destOrd="0" presId="urn:microsoft.com/office/officeart/2005/8/layout/orgChart1"/>
    <dgm:cxn modelId="{D6F97097-F363-44CE-B0F7-D56DA0027E68}" type="presParOf" srcId="{563FF183-F9A3-45CF-AF8D-375A36A3E689}" destId="{68376028-7FC8-490F-8168-BE7900F7B966}" srcOrd="1" destOrd="0" presId="urn:microsoft.com/office/officeart/2005/8/layout/orgChart1"/>
    <dgm:cxn modelId="{78222A9E-030C-4BA1-A724-DDC3D6326438}" type="presParOf" srcId="{68376028-7FC8-490F-8168-BE7900F7B966}" destId="{659F7343-C5F5-43CB-B3CD-D6F0B3DAFAF1}" srcOrd="0" destOrd="0" presId="urn:microsoft.com/office/officeart/2005/8/layout/orgChart1"/>
    <dgm:cxn modelId="{25B3B453-7A6D-441D-8147-A17F20BF988A}" type="presParOf" srcId="{659F7343-C5F5-43CB-B3CD-D6F0B3DAFAF1}" destId="{025D5DD2-2453-44D0-86FD-328B8F97FA3B}" srcOrd="0" destOrd="0" presId="urn:microsoft.com/office/officeart/2005/8/layout/orgChart1"/>
    <dgm:cxn modelId="{AB38CAB1-BD7A-44B1-978E-ACD10701FB0F}" type="presParOf" srcId="{659F7343-C5F5-43CB-B3CD-D6F0B3DAFAF1}" destId="{BE20F505-37C5-4981-8355-32460C67E036}" srcOrd="1" destOrd="0" presId="urn:microsoft.com/office/officeart/2005/8/layout/orgChart1"/>
    <dgm:cxn modelId="{70821EA4-5879-4136-A823-A4C3F8E3CD1D}" type="presParOf" srcId="{68376028-7FC8-490F-8168-BE7900F7B966}" destId="{9AE5E51B-F939-497D-B5A7-3AB0BC8D45A5}" srcOrd="1" destOrd="0" presId="urn:microsoft.com/office/officeart/2005/8/layout/orgChart1"/>
    <dgm:cxn modelId="{00F4D9FB-BD15-411B-9551-63F0A810B738}" type="presParOf" srcId="{68376028-7FC8-490F-8168-BE7900F7B966}" destId="{DED7F2B7-0299-4CD6-95F8-3B227AE5DB33}" srcOrd="2" destOrd="0" presId="urn:microsoft.com/office/officeart/2005/8/layout/orgChart1"/>
    <dgm:cxn modelId="{02F0B14D-8577-47C2-8B6C-A0A8C8B8A5E0}" type="presParOf" srcId="{563FF183-F9A3-45CF-AF8D-375A36A3E689}" destId="{EFACC231-73A8-40AA-A60B-55C60897B09D}" srcOrd="2" destOrd="0" presId="urn:microsoft.com/office/officeart/2005/8/layout/orgChart1"/>
    <dgm:cxn modelId="{16A00520-683E-4751-BB02-4EC7586D0860}" type="presParOf" srcId="{563FF183-F9A3-45CF-AF8D-375A36A3E689}" destId="{6BE98EE2-41DE-4E46-9CCB-7B9D310919C9}" srcOrd="3" destOrd="0" presId="urn:microsoft.com/office/officeart/2005/8/layout/orgChart1"/>
    <dgm:cxn modelId="{B423F058-07E2-481C-B526-98C180E8DCCA}" type="presParOf" srcId="{6BE98EE2-41DE-4E46-9CCB-7B9D310919C9}" destId="{A5187002-1188-4803-A511-C81155CF8167}" srcOrd="0" destOrd="0" presId="urn:microsoft.com/office/officeart/2005/8/layout/orgChart1"/>
    <dgm:cxn modelId="{CFDC43AB-D21B-4BC4-A430-22157B63135A}" type="presParOf" srcId="{A5187002-1188-4803-A511-C81155CF8167}" destId="{9D0B82E0-15FF-4788-ADE7-B5010DABD6C4}" srcOrd="0" destOrd="0" presId="urn:microsoft.com/office/officeart/2005/8/layout/orgChart1"/>
    <dgm:cxn modelId="{6D5DD9CD-197B-4BB6-B5D3-FF378CA7C0B0}" type="presParOf" srcId="{A5187002-1188-4803-A511-C81155CF8167}" destId="{25D61B8A-6E9B-465F-8ADB-B71251FB7066}" srcOrd="1" destOrd="0" presId="urn:microsoft.com/office/officeart/2005/8/layout/orgChart1"/>
    <dgm:cxn modelId="{046AC5E0-AB5E-40BE-AD4B-884DACBFAA6B}" type="presParOf" srcId="{6BE98EE2-41DE-4E46-9CCB-7B9D310919C9}" destId="{162B80C8-C50E-4083-B018-266CFF108AF4}" srcOrd="1" destOrd="0" presId="urn:microsoft.com/office/officeart/2005/8/layout/orgChart1"/>
    <dgm:cxn modelId="{930ED178-2A80-4A89-B7C6-BB178EEFC143}" type="presParOf" srcId="{6BE98EE2-41DE-4E46-9CCB-7B9D310919C9}" destId="{EA1A0330-AB73-4408-A3C7-339CEB200316}" srcOrd="2" destOrd="0" presId="urn:microsoft.com/office/officeart/2005/8/layout/orgChart1"/>
    <dgm:cxn modelId="{BAE779C3-738D-4904-8318-82C178DB2A39}" type="presParOf" srcId="{563FF183-F9A3-45CF-AF8D-375A36A3E689}" destId="{9FD3F6AD-69D2-444D-AA78-50EF7A406B4A}" srcOrd="4" destOrd="0" presId="urn:microsoft.com/office/officeart/2005/8/layout/orgChart1"/>
    <dgm:cxn modelId="{9633F74A-A45E-4844-A329-D2FF35048D5F}" type="presParOf" srcId="{563FF183-F9A3-45CF-AF8D-375A36A3E689}" destId="{B4F0CAD2-1A91-433C-AF01-D9FCC950C7BC}" srcOrd="5" destOrd="0" presId="urn:microsoft.com/office/officeart/2005/8/layout/orgChart1"/>
    <dgm:cxn modelId="{962CAEDC-4E28-4672-8969-1C9CB9E0847E}" type="presParOf" srcId="{B4F0CAD2-1A91-433C-AF01-D9FCC950C7BC}" destId="{096A6E3E-A5D3-4623-B2C2-DDB3DB5BEF75}" srcOrd="0" destOrd="0" presId="urn:microsoft.com/office/officeart/2005/8/layout/orgChart1"/>
    <dgm:cxn modelId="{64F231F1-1ABC-49ED-9AC6-284E9F02ADC1}" type="presParOf" srcId="{096A6E3E-A5D3-4623-B2C2-DDB3DB5BEF75}" destId="{12256991-FCF6-41AB-BBB2-C19F93D4D559}" srcOrd="0" destOrd="0" presId="urn:microsoft.com/office/officeart/2005/8/layout/orgChart1"/>
    <dgm:cxn modelId="{3517B340-7D09-4321-BFEC-730821EA1D5A}" type="presParOf" srcId="{096A6E3E-A5D3-4623-B2C2-DDB3DB5BEF75}" destId="{C5DE96EA-2C59-4562-AD5A-A497BF81E89A}" srcOrd="1" destOrd="0" presId="urn:microsoft.com/office/officeart/2005/8/layout/orgChart1"/>
    <dgm:cxn modelId="{6499694A-C6A4-46BB-84AD-1FA569B33D3A}" type="presParOf" srcId="{B4F0CAD2-1A91-433C-AF01-D9FCC950C7BC}" destId="{698F3050-A6E4-4DCE-B47B-8A1C4111E3CF}" srcOrd="1" destOrd="0" presId="urn:microsoft.com/office/officeart/2005/8/layout/orgChart1"/>
    <dgm:cxn modelId="{378F2492-8A32-4899-8AC8-50E79AD5F22C}" type="presParOf" srcId="{B4F0CAD2-1A91-433C-AF01-D9FCC950C7BC}" destId="{40EDAB03-9458-436E-8A79-AF519120097D}" srcOrd="2" destOrd="0" presId="urn:microsoft.com/office/officeart/2005/8/layout/orgChart1"/>
    <dgm:cxn modelId="{534C0A4E-0982-4F9F-9FCD-A1D361651DF8}" type="presParOf" srcId="{563FF183-F9A3-45CF-AF8D-375A36A3E689}" destId="{C633100F-1A64-4E01-BF38-7D3EDC99C509}" srcOrd="6" destOrd="0" presId="urn:microsoft.com/office/officeart/2005/8/layout/orgChart1"/>
    <dgm:cxn modelId="{85DECCDF-EA26-48A2-8059-F7C375335CA7}" type="presParOf" srcId="{563FF183-F9A3-45CF-AF8D-375A36A3E689}" destId="{F4F93A46-6E90-4BEA-99D7-DAE06509552F}" srcOrd="7" destOrd="0" presId="urn:microsoft.com/office/officeart/2005/8/layout/orgChart1"/>
    <dgm:cxn modelId="{4B6D7DBA-036D-4FB6-B4B7-979CE04E98FB}" type="presParOf" srcId="{F4F93A46-6E90-4BEA-99D7-DAE06509552F}" destId="{CEB0A20A-52A8-41E6-A02B-53293E1AC448}" srcOrd="0" destOrd="0" presId="urn:microsoft.com/office/officeart/2005/8/layout/orgChart1"/>
    <dgm:cxn modelId="{DE1ADB6B-F721-4780-A330-4FED1F23B843}" type="presParOf" srcId="{CEB0A20A-52A8-41E6-A02B-53293E1AC448}" destId="{BF425478-C3F2-48B9-9977-61E27B5792C2}" srcOrd="0" destOrd="0" presId="urn:microsoft.com/office/officeart/2005/8/layout/orgChart1"/>
    <dgm:cxn modelId="{99224CFA-F4FF-400F-A736-E0B57488120E}" type="presParOf" srcId="{CEB0A20A-52A8-41E6-A02B-53293E1AC448}" destId="{2FA082EE-A532-47E1-B7A3-879DCFB49C0F}" srcOrd="1" destOrd="0" presId="urn:microsoft.com/office/officeart/2005/8/layout/orgChart1"/>
    <dgm:cxn modelId="{41AD8966-45ED-449B-B582-84F87A4EC602}" type="presParOf" srcId="{F4F93A46-6E90-4BEA-99D7-DAE06509552F}" destId="{5333021F-0B4E-4C71-BF04-C2D435E11059}" srcOrd="1" destOrd="0" presId="urn:microsoft.com/office/officeart/2005/8/layout/orgChart1"/>
    <dgm:cxn modelId="{E2F82AE4-F963-402E-B1EB-60AEC4E82F34}" type="presParOf" srcId="{F4F93A46-6E90-4BEA-99D7-DAE06509552F}" destId="{F7E38367-6FD2-4749-911B-53D07C208BC6}" srcOrd="2" destOrd="0" presId="urn:microsoft.com/office/officeart/2005/8/layout/orgChart1"/>
    <dgm:cxn modelId="{395E9ED0-D422-4CCD-97F6-DCFB4BD033F9}" type="presParOf" srcId="{563FF183-F9A3-45CF-AF8D-375A36A3E689}" destId="{B1035675-5CD6-4783-B08C-DEA8FB157A96}" srcOrd="8" destOrd="0" presId="urn:microsoft.com/office/officeart/2005/8/layout/orgChart1"/>
    <dgm:cxn modelId="{66210A46-1484-4124-8CB3-F6036C349DB8}" type="presParOf" srcId="{563FF183-F9A3-45CF-AF8D-375A36A3E689}" destId="{FC174E8E-CFB5-4A0A-96C0-556CA13934A5}" srcOrd="9" destOrd="0" presId="urn:microsoft.com/office/officeart/2005/8/layout/orgChart1"/>
    <dgm:cxn modelId="{5B049269-20AA-4C29-93F6-98E2D7084828}" type="presParOf" srcId="{FC174E8E-CFB5-4A0A-96C0-556CA13934A5}" destId="{822307CB-1688-457F-B2E7-547B15420C73}" srcOrd="0" destOrd="0" presId="urn:microsoft.com/office/officeart/2005/8/layout/orgChart1"/>
    <dgm:cxn modelId="{36AF90DE-D20D-40AA-B005-50082D829D9D}" type="presParOf" srcId="{822307CB-1688-457F-B2E7-547B15420C73}" destId="{2B6C4597-25EC-4443-B376-6E9E2BE59A78}" srcOrd="0" destOrd="0" presId="urn:microsoft.com/office/officeart/2005/8/layout/orgChart1"/>
    <dgm:cxn modelId="{E4DCA34B-EC6F-4E8B-AB11-10E793E886EF}" type="presParOf" srcId="{822307CB-1688-457F-B2E7-547B15420C73}" destId="{EF052C23-7781-4555-A9A0-8FA1B8369DD9}" srcOrd="1" destOrd="0" presId="urn:microsoft.com/office/officeart/2005/8/layout/orgChart1"/>
    <dgm:cxn modelId="{6E8029D4-F993-46A0-99F0-EE3F8F3BA102}" type="presParOf" srcId="{FC174E8E-CFB5-4A0A-96C0-556CA13934A5}" destId="{70177C24-7386-496D-B248-92E22069BF8F}" srcOrd="1" destOrd="0" presId="urn:microsoft.com/office/officeart/2005/8/layout/orgChart1"/>
    <dgm:cxn modelId="{7860341F-60A6-4F9B-96A4-938E224891A9}" type="presParOf" srcId="{FC174E8E-CFB5-4A0A-96C0-556CA13934A5}" destId="{8F6E13D9-FB97-41C7-9872-0AF003D96B4B}" srcOrd="2" destOrd="0" presId="urn:microsoft.com/office/officeart/2005/8/layout/orgChart1"/>
    <dgm:cxn modelId="{EEBFA61C-B4B3-48A8-A0EB-8525B3C7BBE7}" type="presParOf" srcId="{563FF183-F9A3-45CF-AF8D-375A36A3E689}" destId="{50F37E22-875A-4743-B1FD-419355DC370A}" srcOrd="10" destOrd="0" presId="urn:microsoft.com/office/officeart/2005/8/layout/orgChart1"/>
    <dgm:cxn modelId="{151B06E8-ACFA-47D7-BCC7-6BFB380FD4BF}" type="presParOf" srcId="{563FF183-F9A3-45CF-AF8D-375A36A3E689}" destId="{B4EAF952-1C68-4C30-BD5A-84BEAB4E885F}" srcOrd="11" destOrd="0" presId="urn:microsoft.com/office/officeart/2005/8/layout/orgChart1"/>
    <dgm:cxn modelId="{ED44D558-E9D2-4BC4-8BAC-E0F648904889}" type="presParOf" srcId="{B4EAF952-1C68-4C30-BD5A-84BEAB4E885F}" destId="{A3719751-2540-4EBB-8F7C-E5C8B42D26CD}" srcOrd="0" destOrd="0" presId="urn:microsoft.com/office/officeart/2005/8/layout/orgChart1"/>
    <dgm:cxn modelId="{F6B3B60A-B792-425F-BD49-0AEB214DA00C}" type="presParOf" srcId="{A3719751-2540-4EBB-8F7C-E5C8B42D26CD}" destId="{E6385154-4BEC-48F2-810C-490782F3498C}" srcOrd="0" destOrd="0" presId="urn:microsoft.com/office/officeart/2005/8/layout/orgChart1"/>
    <dgm:cxn modelId="{A88D2A70-FE0B-4082-A9D7-262DDA4046D6}" type="presParOf" srcId="{A3719751-2540-4EBB-8F7C-E5C8B42D26CD}" destId="{66463D48-8B31-4ED7-ACEF-9FDAC5F5651B}" srcOrd="1" destOrd="0" presId="urn:microsoft.com/office/officeart/2005/8/layout/orgChart1"/>
    <dgm:cxn modelId="{A6A61834-0765-41F2-9390-2CC38D29BCDB}" type="presParOf" srcId="{B4EAF952-1C68-4C30-BD5A-84BEAB4E885F}" destId="{BC4EA85D-724A-4E1D-ACC3-99EEE8BEFEF8}" srcOrd="1" destOrd="0" presId="urn:microsoft.com/office/officeart/2005/8/layout/orgChart1"/>
    <dgm:cxn modelId="{C6C5D558-D982-41EC-B49E-43000DD50DD5}" type="presParOf" srcId="{B4EAF952-1C68-4C30-BD5A-84BEAB4E885F}" destId="{24976D59-473E-4D43-B136-893BE5C1A399}" srcOrd="2" destOrd="0" presId="urn:microsoft.com/office/officeart/2005/8/layout/orgChart1"/>
    <dgm:cxn modelId="{E2498868-5F5D-441E-B0EA-9EA0279B9C8B}" type="presParOf" srcId="{EBE43BEC-AE1B-4242-BB8C-CED9801E4AD5}" destId="{996B415F-1AE9-4E31-8843-55963849542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US" sz="2000" kern="1200" dirty="0">
              <a:solidFill>
                <a:srgbClr val="FFFFFF"/>
              </a:solidFill>
              <a:latin typeface="Arial"/>
              <a:ea typeface="+mn-ea"/>
              <a:cs typeface="+mn-cs"/>
            </a:rPr>
            <a:t>Within the project team</a:t>
          </a: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C970F514-4233-452F-8557-C613F7CB159A}" type="presOf" srcId="{2D0FC573-67D3-49A6-B2DE-43BEE608FD7B}" destId="{3F8530A0-6AE1-41FE-AF79-FF56C48A81FB}"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67A2B2F2-454C-43FC-9641-058D43AB67F2}" type="presOf" srcId="{8A192785-970C-48B0-8950-11ECB7D3EBF2}" destId="{3D3D6986-1772-41B2-90AA-8C7670B5E9BB}"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540C5526-1BF0-4AE4-96C1-3B3488D36450}" srcId="{2D0FC573-67D3-49A6-B2DE-43BEE608FD7B}" destId="{90E8007F-12CA-4754-B289-2A626DD00E64}" srcOrd="0" destOrd="0" parTransId="{9D33C2DA-A44D-45E1-9935-FC306625DC9E}" sibTransId="{4A443ED8-22E7-413F-83B7-AD88C73E61AF}"/>
    <dgm:cxn modelId="{9A8DC2B4-4471-411D-9C67-254C10B2A9FA}" type="presOf" srcId="{F640263F-16B0-4069-972C-AAA0F7795DF9}" destId="{88E7F061-B66D-4606-94C2-7CC83268BEAA}" srcOrd="0" destOrd="0" presId="urn:microsoft.com/office/officeart/2008/layout/VerticalCurvedList"/>
    <dgm:cxn modelId="{31FFACB1-7418-4B19-85A4-1C2B8ABEF84C}" srcId="{2D0FC573-67D3-49A6-B2DE-43BEE608FD7B}" destId="{8A192785-970C-48B0-8950-11ECB7D3EBF2}" srcOrd="1" destOrd="0" parTransId="{F77B722B-C99C-4E16-A6C0-29D0A1514C58}" sibTransId="{CCC5CA94-D30D-4D80-8F74-511EF16062DB}"/>
    <dgm:cxn modelId="{503AFCAC-5900-4CD0-953F-156342B56938}" type="presOf" srcId="{90E8007F-12CA-4754-B289-2A626DD00E64}" destId="{27CB3C2F-BD5E-47A3-92EA-BD4E6D2B80AE}" srcOrd="0" destOrd="0" presId="urn:microsoft.com/office/officeart/2008/layout/VerticalCurvedList"/>
    <dgm:cxn modelId="{3CDE39D6-DD36-49AA-A8B3-160ACE93A1C8}" type="presOf" srcId="{4A443ED8-22E7-413F-83B7-AD88C73E61AF}" destId="{423CF216-5879-4022-A710-6A05F08BF053}" srcOrd="0" destOrd="0" presId="urn:microsoft.com/office/officeart/2008/layout/VerticalCurvedList"/>
    <dgm:cxn modelId="{50A63B31-ACF9-45D2-ABD3-004A8C83301C}" type="presOf" srcId="{A4D0374E-3A2A-45BE-A4F0-4FD3B4920FAE}" destId="{470A3FAC-3BB9-44F4-AE20-D246C576BFA3}" srcOrd="0" destOrd="0" presId="urn:microsoft.com/office/officeart/2008/layout/VerticalCurvedList"/>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0B3B78-AA20-4AA8-81EB-A0D902115C26}" type="doc">
      <dgm:prSet loTypeId="urn:microsoft.com/office/officeart/2005/8/layout/pyramid2" loCatId="list" qsTypeId="urn:microsoft.com/office/officeart/2005/8/quickstyle/simple1" qsCatId="simple" csTypeId="urn:microsoft.com/office/officeart/2005/8/colors/accent1_2" csCatId="accent1" phldr="1"/>
      <dgm:spPr/>
    </dgm:pt>
    <dgm:pt modelId="{81AA1219-72D7-470A-9092-A6B74427B4A6}">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gm:t>
    </dgm:pt>
    <dgm:pt modelId="{BFB32A9F-1EF4-48F9-A039-0B76E7FC357B}" type="parTrans" cxnId="{8886D7D3-ECD9-4C82-9652-F952B3D04A33}">
      <dgm:prSet/>
      <dgm:spPr/>
      <dgm:t>
        <a:bodyPr/>
        <a:lstStyle/>
        <a:p>
          <a:endParaRPr lang="en-US"/>
        </a:p>
      </dgm:t>
    </dgm:pt>
    <dgm:pt modelId="{D55E10C7-CAF7-4F76-9365-431A41E564C3}" type="sibTrans" cxnId="{8886D7D3-ECD9-4C82-9652-F952B3D04A33}">
      <dgm:prSet/>
      <dgm:spPr/>
      <dgm:t>
        <a:bodyPr/>
        <a:lstStyle/>
        <a:p>
          <a:endParaRPr lang="en-US"/>
        </a:p>
      </dgm:t>
    </dgm:pt>
    <dgm:pt modelId="{6CF98C94-0B3E-4A62-8538-9AF48C2CFAE5}">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gm:t>
    </dgm:pt>
    <dgm:pt modelId="{E5BA6E3A-E070-40D8-B8D8-5FF08B0D61F1}" type="parTrans" cxnId="{DA0AD2A3-9329-43BE-95E1-7AC831FD21CF}">
      <dgm:prSet/>
      <dgm:spPr/>
      <dgm:t>
        <a:bodyPr/>
        <a:lstStyle/>
        <a:p>
          <a:endParaRPr lang="en-US"/>
        </a:p>
      </dgm:t>
    </dgm:pt>
    <dgm:pt modelId="{CF94D40A-A26B-443F-8614-5F72EC07DB6E}" type="sibTrans" cxnId="{DA0AD2A3-9329-43BE-95E1-7AC831FD21CF}">
      <dgm:prSet/>
      <dgm:spPr/>
      <dgm:t>
        <a:bodyPr/>
        <a:lstStyle/>
        <a:p>
          <a:endParaRPr lang="en-US"/>
        </a:p>
      </dgm:t>
    </dgm:pt>
    <dgm:pt modelId="{09B0082B-A95D-4268-ABED-0503D5AFF7C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gm:t>
    </dgm:pt>
    <dgm:pt modelId="{DBD42C58-75D5-41D6-8972-FB84BD66D6AB}" type="parTrans" cxnId="{44E9FD3A-CBED-4237-97E0-14BBDBD34272}">
      <dgm:prSet/>
      <dgm:spPr/>
      <dgm:t>
        <a:bodyPr/>
        <a:lstStyle/>
        <a:p>
          <a:endParaRPr lang="en-US"/>
        </a:p>
      </dgm:t>
    </dgm:pt>
    <dgm:pt modelId="{92A7A9D3-EC70-48EA-AC6A-81534BBD0D64}" type="sibTrans" cxnId="{44E9FD3A-CBED-4237-97E0-14BBDBD34272}">
      <dgm:prSet/>
      <dgm:spPr/>
      <dgm:t>
        <a:bodyPr/>
        <a:lstStyle/>
        <a:p>
          <a:endParaRPr lang="en-US"/>
        </a:p>
      </dgm:t>
    </dgm:pt>
    <dgm:pt modelId="{39AA01ED-6A35-4258-8E39-420A6CD017C8}">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gm:t>
    </dgm:pt>
    <dgm:pt modelId="{2097BE2E-21D2-4C18-AD12-8237AA98C39C}" type="parTrans" cxnId="{056A13E0-585B-4E91-95B4-3CAB355D1791}">
      <dgm:prSet/>
      <dgm:spPr/>
      <dgm:t>
        <a:bodyPr/>
        <a:lstStyle/>
        <a:p>
          <a:endParaRPr lang="en-US"/>
        </a:p>
      </dgm:t>
    </dgm:pt>
    <dgm:pt modelId="{1E05E5B4-AAF4-46F6-BCDC-C3CB9D34A2A2}" type="sibTrans" cxnId="{056A13E0-585B-4E91-95B4-3CAB355D1791}">
      <dgm:prSet/>
      <dgm:spPr/>
      <dgm:t>
        <a:bodyPr/>
        <a:lstStyle/>
        <a:p>
          <a:endParaRPr lang="en-US"/>
        </a:p>
      </dgm:t>
    </dgm:pt>
    <dgm:pt modelId="{16B47E29-EE98-4B6A-918D-F230A79A0E92}">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gm:t>
    </dgm:pt>
    <dgm:pt modelId="{ED0CFD02-BF3A-4224-9951-A36C04D17F64}" type="parTrans" cxnId="{4EA4CB41-8AC2-4204-8B62-B69E14A1C887}">
      <dgm:prSet/>
      <dgm:spPr/>
      <dgm:t>
        <a:bodyPr/>
        <a:lstStyle/>
        <a:p>
          <a:endParaRPr lang="en-US"/>
        </a:p>
      </dgm:t>
    </dgm:pt>
    <dgm:pt modelId="{D8EC6380-66C0-4704-8948-687B31FD744F}" type="sibTrans" cxnId="{4EA4CB41-8AC2-4204-8B62-B69E14A1C887}">
      <dgm:prSet/>
      <dgm:spPr/>
      <dgm:t>
        <a:bodyPr/>
        <a:lstStyle/>
        <a:p>
          <a:endParaRPr lang="en-US"/>
        </a:p>
      </dgm:t>
    </dgm:pt>
    <dgm:pt modelId="{C6DCDCA2-B22A-4155-82C7-92E6D1AEAA7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gm:t>
    </dgm:pt>
    <dgm:pt modelId="{52E32A44-64C2-448C-857D-5139E0D52052}" type="parTrans" cxnId="{48028659-641B-46FF-A78E-B59F68725F9C}">
      <dgm:prSet/>
      <dgm:spPr/>
      <dgm:t>
        <a:bodyPr/>
        <a:lstStyle/>
        <a:p>
          <a:endParaRPr lang="en-US"/>
        </a:p>
      </dgm:t>
    </dgm:pt>
    <dgm:pt modelId="{10269443-C6B4-4D10-A102-4E82AF25735B}" type="sibTrans" cxnId="{48028659-641B-46FF-A78E-B59F68725F9C}">
      <dgm:prSet/>
      <dgm:spPr/>
      <dgm:t>
        <a:bodyPr/>
        <a:lstStyle/>
        <a:p>
          <a:endParaRPr lang="en-US"/>
        </a:p>
      </dgm:t>
    </dgm:pt>
    <dgm:pt modelId="{F8252D8B-C560-4655-BA01-7A7213E1F1AB}" type="pres">
      <dgm:prSet presAssocID="{B60B3B78-AA20-4AA8-81EB-A0D902115C26}" presName="compositeShape" presStyleCnt="0">
        <dgm:presLayoutVars>
          <dgm:dir/>
          <dgm:resizeHandles/>
        </dgm:presLayoutVars>
      </dgm:prSet>
      <dgm:spPr/>
    </dgm:pt>
    <dgm:pt modelId="{381A4DEA-95FB-4397-9260-1D685A0A0A54}" type="pres">
      <dgm:prSet presAssocID="{B60B3B78-AA20-4AA8-81EB-A0D902115C26}" presName="pyramid" presStyleLbl="node1" presStyleIdx="0" presStyleCnt="1"/>
      <dgm:spPr>
        <a:solidFill>
          <a:srgbClr val="5A963C"/>
        </a:solidFill>
      </dgm:spPr>
    </dgm:pt>
    <dgm:pt modelId="{C7F4A8A4-99C3-46A9-8FF8-62A87896117A}" type="pres">
      <dgm:prSet presAssocID="{B60B3B78-AA20-4AA8-81EB-A0D902115C26}" presName="theList" presStyleCnt="0"/>
      <dgm:spPr/>
    </dgm:pt>
    <dgm:pt modelId="{3CBAD6B0-7AAC-4444-9F49-3C3DC0E5BF0E}" type="pres">
      <dgm:prSet presAssocID="{81AA1219-72D7-470A-9092-A6B74427B4A6}" presName="aNode" presStyleLbl="fgAcc1" presStyleIdx="0" presStyleCnt="6">
        <dgm:presLayoutVars>
          <dgm:bulletEnabled val="1"/>
        </dgm:presLayoutVars>
      </dgm:prSet>
      <dgm:spPr>
        <a:xfrm>
          <a:off x="4033440" y="509132"/>
          <a:ext cx="3291681" cy="599386"/>
        </a:xfrm>
        <a:prstGeom prst="roundRect">
          <a:avLst/>
        </a:prstGeom>
      </dgm:spPr>
    </dgm:pt>
    <dgm:pt modelId="{91C511EA-5FE1-4A54-A868-2604B2C1598C}" type="pres">
      <dgm:prSet presAssocID="{81AA1219-72D7-470A-9092-A6B74427B4A6}" presName="aSpace" presStyleCnt="0"/>
      <dgm:spPr/>
    </dgm:pt>
    <dgm:pt modelId="{579B438A-D0F9-457F-9D53-CAEE27E539AD}" type="pres">
      <dgm:prSet presAssocID="{6CF98C94-0B3E-4A62-8538-9AF48C2CFAE5}" presName="aNode" presStyleLbl="fgAcc1" presStyleIdx="1" presStyleCnt="6">
        <dgm:presLayoutVars>
          <dgm:bulletEnabled val="1"/>
        </dgm:presLayoutVars>
      </dgm:prSet>
      <dgm:spPr>
        <a:xfrm>
          <a:off x="4033440" y="1183442"/>
          <a:ext cx="3291681" cy="599386"/>
        </a:xfrm>
        <a:prstGeom prst="roundRect">
          <a:avLst/>
        </a:prstGeom>
      </dgm:spPr>
    </dgm:pt>
    <dgm:pt modelId="{A9ECF109-29D2-430E-9690-A604910A3BA7}" type="pres">
      <dgm:prSet presAssocID="{6CF98C94-0B3E-4A62-8538-9AF48C2CFAE5}" presName="aSpace" presStyleCnt="0"/>
      <dgm:spPr/>
    </dgm:pt>
    <dgm:pt modelId="{606332FD-EEBB-4EA4-BBF6-AC77F367D068}" type="pres">
      <dgm:prSet presAssocID="{09B0082B-A95D-4268-ABED-0503D5AFF7CE}" presName="aNode" presStyleLbl="fgAcc1" presStyleIdx="2" presStyleCnt="6">
        <dgm:presLayoutVars>
          <dgm:bulletEnabled val="1"/>
        </dgm:presLayoutVars>
      </dgm:prSet>
      <dgm:spPr>
        <a:xfrm>
          <a:off x="4033440" y="1857752"/>
          <a:ext cx="3291681" cy="599386"/>
        </a:xfrm>
        <a:prstGeom prst="roundRect">
          <a:avLst/>
        </a:prstGeom>
      </dgm:spPr>
    </dgm:pt>
    <dgm:pt modelId="{69EDA7EB-74BA-490E-BB54-C2D561BF1D6F}" type="pres">
      <dgm:prSet presAssocID="{09B0082B-A95D-4268-ABED-0503D5AFF7CE}" presName="aSpace" presStyleCnt="0"/>
      <dgm:spPr/>
    </dgm:pt>
    <dgm:pt modelId="{34FF16FD-49CB-4331-A72D-0EB4F79985A4}" type="pres">
      <dgm:prSet presAssocID="{39AA01ED-6A35-4258-8E39-420A6CD017C8}" presName="aNode" presStyleLbl="fgAcc1" presStyleIdx="3" presStyleCnt="6">
        <dgm:presLayoutVars>
          <dgm:bulletEnabled val="1"/>
        </dgm:presLayoutVars>
      </dgm:prSet>
      <dgm:spPr>
        <a:xfrm>
          <a:off x="4033440" y="2532062"/>
          <a:ext cx="3291681" cy="599386"/>
        </a:xfrm>
        <a:prstGeom prst="roundRect">
          <a:avLst/>
        </a:prstGeom>
      </dgm:spPr>
    </dgm:pt>
    <dgm:pt modelId="{389D1DFF-94E1-46A3-BD29-C7B25EEA078D}" type="pres">
      <dgm:prSet presAssocID="{39AA01ED-6A35-4258-8E39-420A6CD017C8}" presName="aSpace" presStyleCnt="0"/>
      <dgm:spPr/>
    </dgm:pt>
    <dgm:pt modelId="{4AD649CD-478B-48C9-A961-D73D985838ED}" type="pres">
      <dgm:prSet presAssocID="{16B47E29-EE98-4B6A-918D-F230A79A0E92}" presName="aNode" presStyleLbl="fgAcc1" presStyleIdx="4" presStyleCnt="6">
        <dgm:presLayoutVars>
          <dgm:bulletEnabled val="1"/>
        </dgm:presLayoutVars>
      </dgm:prSet>
      <dgm:spPr>
        <a:xfrm>
          <a:off x="4033440" y="3206372"/>
          <a:ext cx="3291681" cy="599386"/>
        </a:xfrm>
        <a:prstGeom prst="roundRect">
          <a:avLst/>
        </a:prstGeom>
      </dgm:spPr>
    </dgm:pt>
    <dgm:pt modelId="{EB951109-1655-4CD8-9802-24D20F433820}" type="pres">
      <dgm:prSet presAssocID="{16B47E29-EE98-4B6A-918D-F230A79A0E92}" presName="aSpace" presStyleCnt="0"/>
      <dgm:spPr/>
    </dgm:pt>
    <dgm:pt modelId="{62977B49-B0C2-4B94-B488-88BD098E2BC1}" type="pres">
      <dgm:prSet presAssocID="{C6DCDCA2-B22A-4155-82C7-92E6D1AEAA7E}" presName="aNode" presStyleLbl="fgAcc1" presStyleIdx="5" presStyleCnt="6">
        <dgm:presLayoutVars>
          <dgm:bulletEnabled val="1"/>
        </dgm:presLayoutVars>
      </dgm:prSet>
      <dgm:spPr>
        <a:xfrm>
          <a:off x="4033440" y="3880682"/>
          <a:ext cx="3291681" cy="599386"/>
        </a:xfrm>
        <a:prstGeom prst="roundRect">
          <a:avLst/>
        </a:prstGeom>
      </dgm:spPr>
    </dgm:pt>
    <dgm:pt modelId="{53509FAB-7085-44B9-A2DA-053E874C748A}" type="pres">
      <dgm:prSet presAssocID="{C6DCDCA2-B22A-4155-82C7-92E6D1AEAA7E}" presName="aSpace" presStyleCnt="0"/>
      <dgm:spPr/>
    </dgm:pt>
  </dgm:ptLst>
  <dgm:cxnLst>
    <dgm:cxn modelId="{829B121A-7C13-4AB0-B0AA-C2E64EC30177}" type="presOf" srcId="{C6DCDCA2-B22A-4155-82C7-92E6D1AEAA7E}" destId="{62977B49-B0C2-4B94-B488-88BD098E2BC1}" srcOrd="0" destOrd="0" presId="urn:microsoft.com/office/officeart/2005/8/layout/pyramid2"/>
    <dgm:cxn modelId="{8886D7D3-ECD9-4C82-9652-F952B3D04A33}" srcId="{B60B3B78-AA20-4AA8-81EB-A0D902115C26}" destId="{81AA1219-72D7-470A-9092-A6B74427B4A6}" srcOrd="0" destOrd="0" parTransId="{BFB32A9F-1EF4-48F9-A039-0B76E7FC357B}" sibTransId="{D55E10C7-CAF7-4F76-9365-431A41E564C3}"/>
    <dgm:cxn modelId="{1BC60CE4-6181-4E9D-9446-D7755B4824AF}" type="presOf" srcId="{B60B3B78-AA20-4AA8-81EB-A0D902115C26}" destId="{F8252D8B-C560-4655-BA01-7A7213E1F1AB}" srcOrd="0" destOrd="0" presId="urn:microsoft.com/office/officeart/2005/8/layout/pyramid2"/>
    <dgm:cxn modelId="{9EA0B0A5-AE5E-4EAF-AAE4-1A759A6E41D0}" type="presOf" srcId="{81AA1219-72D7-470A-9092-A6B74427B4A6}" destId="{3CBAD6B0-7AAC-4444-9F49-3C3DC0E5BF0E}" srcOrd="0" destOrd="0" presId="urn:microsoft.com/office/officeart/2005/8/layout/pyramid2"/>
    <dgm:cxn modelId="{056A13E0-585B-4E91-95B4-3CAB355D1791}" srcId="{B60B3B78-AA20-4AA8-81EB-A0D902115C26}" destId="{39AA01ED-6A35-4258-8E39-420A6CD017C8}" srcOrd="3" destOrd="0" parTransId="{2097BE2E-21D2-4C18-AD12-8237AA98C39C}" sibTransId="{1E05E5B4-AAF4-46F6-BCDC-C3CB9D34A2A2}"/>
    <dgm:cxn modelId="{067D8480-7C59-4552-8AC2-5B40220A818A}" type="presOf" srcId="{6CF98C94-0B3E-4A62-8538-9AF48C2CFAE5}" destId="{579B438A-D0F9-457F-9D53-CAEE27E539AD}" srcOrd="0" destOrd="0" presId="urn:microsoft.com/office/officeart/2005/8/layout/pyramid2"/>
    <dgm:cxn modelId="{DA0AD2A3-9329-43BE-95E1-7AC831FD21CF}" srcId="{B60B3B78-AA20-4AA8-81EB-A0D902115C26}" destId="{6CF98C94-0B3E-4A62-8538-9AF48C2CFAE5}" srcOrd="1" destOrd="0" parTransId="{E5BA6E3A-E070-40D8-B8D8-5FF08B0D61F1}" sibTransId="{CF94D40A-A26B-443F-8614-5F72EC07DB6E}"/>
    <dgm:cxn modelId="{F69ADE0C-4387-4659-A0A5-33624B2E0A11}" type="presOf" srcId="{39AA01ED-6A35-4258-8E39-420A6CD017C8}" destId="{34FF16FD-49CB-4331-A72D-0EB4F79985A4}" srcOrd="0" destOrd="0" presId="urn:microsoft.com/office/officeart/2005/8/layout/pyramid2"/>
    <dgm:cxn modelId="{44E9FD3A-CBED-4237-97E0-14BBDBD34272}" srcId="{B60B3B78-AA20-4AA8-81EB-A0D902115C26}" destId="{09B0082B-A95D-4268-ABED-0503D5AFF7CE}" srcOrd="2" destOrd="0" parTransId="{DBD42C58-75D5-41D6-8972-FB84BD66D6AB}" sibTransId="{92A7A9D3-EC70-48EA-AC6A-81534BBD0D64}"/>
    <dgm:cxn modelId="{48028659-641B-46FF-A78E-B59F68725F9C}" srcId="{B60B3B78-AA20-4AA8-81EB-A0D902115C26}" destId="{C6DCDCA2-B22A-4155-82C7-92E6D1AEAA7E}" srcOrd="5" destOrd="0" parTransId="{52E32A44-64C2-448C-857D-5139E0D52052}" sibTransId="{10269443-C6B4-4D10-A102-4E82AF25735B}"/>
    <dgm:cxn modelId="{DB7A978A-CB79-40D9-B293-6F5093A7188A}" type="presOf" srcId="{09B0082B-A95D-4268-ABED-0503D5AFF7CE}" destId="{606332FD-EEBB-4EA4-BBF6-AC77F367D068}" srcOrd="0" destOrd="0" presId="urn:microsoft.com/office/officeart/2005/8/layout/pyramid2"/>
    <dgm:cxn modelId="{4EA4CB41-8AC2-4204-8B62-B69E14A1C887}" srcId="{B60B3B78-AA20-4AA8-81EB-A0D902115C26}" destId="{16B47E29-EE98-4B6A-918D-F230A79A0E92}" srcOrd="4" destOrd="0" parTransId="{ED0CFD02-BF3A-4224-9951-A36C04D17F64}" sibTransId="{D8EC6380-66C0-4704-8948-687B31FD744F}"/>
    <dgm:cxn modelId="{8B7B05C7-7DBB-4AED-9E83-7D67CD5C99B8}" type="presOf" srcId="{16B47E29-EE98-4B6A-918D-F230A79A0E92}" destId="{4AD649CD-478B-48C9-A961-D73D985838ED}" srcOrd="0" destOrd="0" presId="urn:microsoft.com/office/officeart/2005/8/layout/pyramid2"/>
    <dgm:cxn modelId="{40B3B477-3CED-440D-B557-147A11726BBE}" type="presParOf" srcId="{F8252D8B-C560-4655-BA01-7A7213E1F1AB}" destId="{381A4DEA-95FB-4397-9260-1D685A0A0A54}" srcOrd="0" destOrd="0" presId="urn:microsoft.com/office/officeart/2005/8/layout/pyramid2"/>
    <dgm:cxn modelId="{FBCDEAE8-B49E-459B-8D89-EC3EB2FF711B}" type="presParOf" srcId="{F8252D8B-C560-4655-BA01-7A7213E1F1AB}" destId="{C7F4A8A4-99C3-46A9-8FF8-62A87896117A}" srcOrd="1" destOrd="0" presId="urn:microsoft.com/office/officeart/2005/8/layout/pyramid2"/>
    <dgm:cxn modelId="{703E9223-8093-4EF0-9BF0-15FB1B68A1E0}" type="presParOf" srcId="{C7F4A8A4-99C3-46A9-8FF8-62A87896117A}" destId="{3CBAD6B0-7AAC-4444-9F49-3C3DC0E5BF0E}" srcOrd="0" destOrd="0" presId="urn:microsoft.com/office/officeart/2005/8/layout/pyramid2"/>
    <dgm:cxn modelId="{E7B59068-885D-49DF-8639-00C330FC5D7A}" type="presParOf" srcId="{C7F4A8A4-99C3-46A9-8FF8-62A87896117A}" destId="{91C511EA-5FE1-4A54-A868-2604B2C1598C}" srcOrd="1" destOrd="0" presId="urn:microsoft.com/office/officeart/2005/8/layout/pyramid2"/>
    <dgm:cxn modelId="{4BE0DE4D-BEF9-40ED-A406-10DD25365875}" type="presParOf" srcId="{C7F4A8A4-99C3-46A9-8FF8-62A87896117A}" destId="{579B438A-D0F9-457F-9D53-CAEE27E539AD}" srcOrd="2" destOrd="0" presId="urn:microsoft.com/office/officeart/2005/8/layout/pyramid2"/>
    <dgm:cxn modelId="{FA116D7C-C2EC-4AA2-97CF-5A0AB6F62431}" type="presParOf" srcId="{C7F4A8A4-99C3-46A9-8FF8-62A87896117A}" destId="{A9ECF109-29D2-430E-9690-A604910A3BA7}" srcOrd="3" destOrd="0" presId="urn:microsoft.com/office/officeart/2005/8/layout/pyramid2"/>
    <dgm:cxn modelId="{8A98D080-F644-4BC9-935B-B9BC1B3A1375}" type="presParOf" srcId="{C7F4A8A4-99C3-46A9-8FF8-62A87896117A}" destId="{606332FD-EEBB-4EA4-BBF6-AC77F367D068}" srcOrd="4" destOrd="0" presId="urn:microsoft.com/office/officeart/2005/8/layout/pyramid2"/>
    <dgm:cxn modelId="{118DA5A0-925C-4601-AE34-84DC06D5FA01}" type="presParOf" srcId="{C7F4A8A4-99C3-46A9-8FF8-62A87896117A}" destId="{69EDA7EB-74BA-490E-BB54-C2D561BF1D6F}" srcOrd="5" destOrd="0" presId="urn:microsoft.com/office/officeart/2005/8/layout/pyramid2"/>
    <dgm:cxn modelId="{28C13C05-3CE3-4919-8005-50C973E977EB}" type="presParOf" srcId="{C7F4A8A4-99C3-46A9-8FF8-62A87896117A}" destId="{34FF16FD-49CB-4331-A72D-0EB4F79985A4}" srcOrd="6" destOrd="0" presId="urn:microsoft.com/office/officeart/2005/8/layout/pyramid2"/>
    <dgm:cxn modelId="{146015D9-EFF2-44D2-9E4B-619B669485E9}" type="presParOf" srcId="{C7F4A8A4-99C3-46A9-8FF8-62A87896117A}" destId="{389D1DFF-94E1-46A3-BD29-C7B25EEA078D}" srcOrd="7" destOrd="0" presId="urn:microsoft.com/office/officeart/2005/8/layout/pyramid2"/>
    <dgm:cxn modelId="{DB0C481E-EB72-4FCA-B390-A1D9153C7905}" type="presParOf" srcId="{C7F4A8A4-99C3-46A9-8FF8-62A87896117A}" destId="{4AD649CD-478B-48C9-A961-D73D985838ED}" srcOrd="8" destOrd="0" presId="urn:microsoft.com/office/officeart/2005/8/layout/pyramid2"/>
    <dgm:cxn modelId="{6E96CF3E-5252-4F97-96BB-1BD9B28AF80B}" type="presParOf" srcId="{C7F4A8A4-99C3-46A9-8FF8-62A87896117A}" destId="{EB951109-1655-4CD8-9802-24D20F433820}" srcOrd="9" destOrd="0" presId="urn:microsoft.com/office/officeart/2005/8/layout/pyramid2"/>
    <dgm:cxn modelId="{8B2DE077-1D6A-4C5E-A2EC-24B20D881560}" type="presParOf" srcId="{C7F4A8A4-99C3-46A9-8FF8-62A87896117A}" destId="{62977B49-B0C2-4B94-B488-88BD098E2BC1}" srcOrd="10" destOrd="0" presId="urn:microsoft.com/office/officeart/2005/8/layout/pyramid2"/>
    <dgm:cxn modelId="{0511305D-936A-42A8-937D-F577E0F2FF97}" type="presParOf" srcId="{C7F4A8A4-99C3-46A9-8FF8-62A87896117A}" destId="{53509FAB-7085-44B9-A2DA-053E874C748A}" srcOrd="11"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C970F514-4233-452F-8557-C613F7CB159A}" type="presOf" srcId="{2D0FC573-67D3-49A6-B2DE-43BEE608FD7B}" destId="{3F8530A0-6AE1-41FE-AF79-FF56C48A81FB}"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67A2B2F2-454C-43FC-9641-058D43AB67F2}" type="presOf" srcId="{8A192785-970C-48B0-8950-11ECB7D3EBF2}" destId="{3D3D6986-1772-41B2-90AA-8C7670B5E9BB}"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540C5526-1BF0-4AE4-96C1-3B3488D36450}" srcId="{2D0FC573-67D3-49A6-B2DE-43BEE608FD7B}" destId="{90E8007F-12CA-4754-B289-2A626DD00E64}" srcOrd="0" destOrd="0" parTransId="{9D33C2DA-A44D-45E1-9935-FC306625DC9E}" sibTransId="{4A443ED8-22E7-413F-83B7-AD88C73E61AF}"/>
    <dgm:cxn modelId="{9A8DC2B4-4471-411D-9C67-254C10B2A9FA}" type="presOf" srcId="{F640263F-16B0-4069-972C-AAA0F7795DF9}" destId="{88E7F061-B66D-4606-94C2-7CC83268BEAA}" srcOrd="0" destOrd="0" presId="urn:microsoft.com/office/officeart/2008/layout/VerticalCurvedList"/>
    <dgm:cxn modelId="{31FFACB1-7418-4B19-85A4-1C2B8ABEF84C}" srcId="{2D0FC573-67D3-49A6-B2DE-43BEE608FD7B}" destId="{8A192785-970C-48B0-8950-11ECB7D3EBF2}" srcOrd="1" destOrd="0" parTransId="{F77B722B-C99C-4E16-A6C0-29D0A1514C58}" sibTransId="{CCC5CA94-D30D-4D80-8F74-511EF16062DB}"/>
    <dgm:cxn modelId="{503AFCAC-5900-4CD0-953F-156342B56938}" type="presOf" srcId="{90E8007F-12CA-4754-B289-2A626DD00E64}" destId="{27CB3C2F-BD5E-47A3-92EA-BD4E6D2B80AE}" srcOrd="0" destOrd="0" presId="urn:microsoft.com/office/officeart/2008/layout/VerticalCurvedList"/>
    <dgm:cxn modelId="{3CDE39D6-DD36-49AA-A8B3-160ACE93A1C8}" type="presOf" srcId="{4A443ED8-22E7-413F-83B7-AD88C73E61AF}" destId="{423CF216-5879-4022-A710-6A05F08BF053}" srcOrd="0" destOrd="0" presId="urn:microsoft.com/office/officeart/2008/layout/VerticalCurvedList"/>
    <dgm:cxn modelId="{50A63B31-ACF9-45D2-ABD3-004A8C83301C}" type="presOf" srcId="{A4D0374E-3A2A-45BE-A4F0-4FD3B4920FAE}" destId="{470A3FAC-3BB9-44F4-AE20-D246C576BFA3}" srcOrd="0" destOrd="0" presId="urn:microsoft.com/office/officeart/2008/layout/VerticalCurvedList"/>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8995D2-452F-4EB3-AEF1-A1C71918BC95}"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D42830DA-FF42-4F8C-8C9B-E2CDEA10AE7A}">
      <dgm:prSet phldrT="[Text]" custT="1"/>
      <dgm:spPr>
        <a:ln>
          <a:solidFill>
            <a:srgbClr val="5A963C"/>
          </a:solidFill>
        </a:ln>
      </dgm:spPr>
      <dgm:t>
        <a:bodyPr/>
        <a:lstStyle/>
        <a:p>
          <a:r>
            <a:rPr lang="en-US" sz="1000" dirty="0"/>
            <a:t>Conceptualisation</a:t>
          </a:r>
        </a:p>
      </dgm:t>
    </dgm:pt>
    <dgm:pt modelId="{479AEC31-9AB1-4E21-B3CD-4700DA10710B}" type="parTrans" cxnId="{C4F15462-D693-4779-BBD7-236C0E17A766}">
      <dgm:prSet/>
      <dgm:spPr/>
      <dgm:t>
        <a:bodyPr/>
        <a:lstStyle/>
        <a:p>
          <a:endParaRPr lang="en-US" sz="1000"/>
        </a:p>
      </dgm:t>
    </dgm:pt>
    <dgm:pt modelId="{35F682E6-CDBE-4740-BFE7-234764C63FBD}" type="sibTrans" cxnId="{C4F15462-D693-4779-BBD7-236C0E17A766}">
      <dgm:prSet/>
      <dgm:spPr/>
      <dgm:t>
        <a:bodyPr/>
        <a:lstStyle/>
        <a:p>
          <a:endParaRPr lang="en-US" sz="1000"/>
        </a:p>
      </dgm:t>
    </dgm:pt>
    <dgm:pt modelId="{5B12F466-11CD-4FCA-970A-FAE62A3D1735}">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gm:t>
    </dgm:pt>
    <dgm:pt modelId="{D3FF45BF-B28D-4716-B524-EAF59DBFB435}" type="parTrans" cxnId="{689490E7-4509-4886-BA94-B05176D04FC0}">
      <dgm:prSet/>
      <dgm:spPr/>
      <dgm:t>
        <a:bodyPr/>
        <a:lstStyle/>
        <a:p>
          <a:endParaRPr lang="en-US" sz="1000"/>
        </a:p>
      </dgm:t>
    </dgm:pt>
    <dgm:pt modelId="{70158C1C-C099-4D8F-B49E-F8441A36E4B9}" type="sibTrans" cxnId="{689490E7-4509-4886-BA94-B05176D04FC0}">
      <dgm:prSet/>
      <dgm:spPr/>
      <dgm:t>
        <a:bodyPr/>
        <a:lstStyle/>
        <a:p>
          <a:endParaRPr lang="en-US" sz="1000"/>
        </a:p>
      </dgm:t>
    </dgm:pt>
    <dgm:pt modelId="{D084B50C-FA47-474C-AF44-062B66B91B5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gm:t>
    </dgm:pt>
    <dgm:pt modelId="{760BB5B9-3483-41B6-AAA2-89EAA1940789}" type="parTrans" cxnId="{1F2BBFDA-4B45-491F-A3C9-A61858B96878}">
      <dgm:prSet/>
      <dgm:spPr/>
      <dgm:t>
        <a:bodyPr/>
        <a:lstStyle/>
        <a:p>
          <a:endParaRPr lang="en-US" sz="1000"/>
        </a:p>
      </dgm:t>
    </dgm:pt>
    <dgm:pt modelId="{E57A9FC9-3A91-4173-918D-182967E03755}" type="sibTrans" cxnId="{1F2BBFDA-4B45-491F-A3C9-A61858B96878}">
      <dgm:prSet/>
      <dgm:spPr/>
      <dgm:t>
        <a:bodyPr/>
        <a:lstStyle/>
        <a:p>
          <a:endParaRPr lang="en-US" sz="1000"/>
        </a:p>
      </dgm:t>
    </dgm:pt>
    <dgm:pt modelId="{CB6B2D63-F1CD-4B41-A374-4A89F5DB9702}">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gm:t>
    </dgm:pt>
    <dgm:pt modelId="{3BF3136B-0CA4-4570-A95F-5A45D0C6B175}" type="parTrans" cxnId="{52C3CFA3-363F-44CB-AB08-03F8DE60BC3C}">
      <dgm:prSet/>
      <dgm:spPr/>
      <dgm:t>
        <a:bodyPr/>
        <a:lstStyle/>
        <a:p>
          <a:endParaRPr lang="en-US" sz="1000"/>
        </a:p>
      </dgm:t>
    </dgm:pt>
    <dgm:pt modelId="{6F0632DF-FD39-4B08-B311-A9C7D59EAD7F}" type="sibTrans" cxnId="{52C3CFA3-363F-44CB-AB08-03F8DE60BC3C}">
      <dgm:prSet/>
      <dgm:spPr/>
      <dgm:t>
        <a:bodyPr/>
        <a:lstStyle/>
        <a:p>
          <a:endParaRPr lang="en-US" sz="1000"/>
        </a:p>
      </dgm:t>
    </dgm:pt>
    <dgm:pt modelId="{5D3A2E55-369E-4397-8AEF-4DF275D3A9E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gm:t>
    </dgm:pt>
    <dgm:pt modelId="{CB56750C-37FE-490C-901C-D184575D9755}" type="parTrans" cxnId="{95B55018-4D00-4DA1-92D1-5368EFC75D6F}">
      <dgm:prSet/>
      <dgm:spPr/>
      <dgm:t>
        <a:bodyPr/>
        <a:lstStyle/>
        <a:p>
          <a:endParaRPr lang="en-US" sz="1000"/>
        </a:p>
      </dgm:t>
    </dgm:pt>
    <dgm:pt modelId="{25A6BAF9-F819-499A-8C0C-941A93E03683}" type="sibTrans" cxnId="{95B55018-4D00-4DA1-92D1-5368EFC75D6F}">
      <dgm:prSet/>
      <dgm:spPr/>
      <dgm:t>
        <a:bodyPr/>
        <a:lstStyle/>
        <a:p>
          <a:endParaRPr lang="en-US" sz="1000"/>
        </a:p>
      </dgm:t>
    </dgm:pt>
    <dgm:pt modelId="{1E1BF25A-31C0-495C-9F6C-CA13FE5A30AF}">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gm:t>
    </dgm:pt>
    <dgm:pt modelId="{1F34AF5A-5A2E-4817-AE38-64CA7A03E1D6}" type="parTrans" cxnId="{F99A9035-86FD-4CAD-B4CD-844C605B44CA}">
      <dgm:prSet/>
      <dgm:spPr/>
      <dgm:t>
        <a:bodyPr/>
        <a:lstStyle/>
        <a:p>
          <a:endParaRPr lang="en-US" sz="1000"/>
        </a:p>
      </dgm:t>
    </dgm:pt>
    <dgm:pt modelId="{A790C6A0-AE50-46DB-B063-E2A26596BC14}" type="sibTrans" cxnId="{F99A9035-86FD-4CAD-B4CD-844C605B44CA}">
      <dgm:prSet/>
      <dgm:spPr/>
      <dgm:t>
        <a:bodyPr/>
        <a:lstStyle/>
        <a:p>
          <a:endParaRPr lang="en-US" sz="1000"/>
        </a:p>
      </dgm:t>
    </dgm:pt>
    <dgm:pt modelId="{6135B44F-A705-4807-AA11-FB16B66E98CD}" type="pres">
      <dgm:prSet presAssocID="{C28995D2-452F-4EB3-AEF1-A1C71918BC95}" presName="Name0" presStyleCnt="0">
        <dgm:presLayoutVars>
          <dgm:dir/>
          <dgm:resizeHandles val="exact"/>
        </dgm:presLayoutVars>
      </dgm:prSet>
      <dgm:spPr/>
    </dgm:pt>
    <dgm:pt modelId="{9E5122E6-9BE1-44C8-9BC5-8B5006BB07C2}" type="pres">
      <dgm:prSet presAssocID="{D42830DA-FF42-4F8C-8C9B-E2CDEA10AE7A}" presName="composite" presStyleCnt="0"/>
      <dgm:spPr/>
    </dgm:pt>
    <dgm:pt modelId="{71B53F86-0F5E-4890-BE68-582C464FB9BD}" type="pres">
      <dgm:prSet presAssocID="{D42830DA-FF42-4F8C-8C9B-E2CDEA10AE7A}" presName="bgChev" presStyleLbl="node1" presStyleIdx="0" presStyleCnt="6"/>
      <dgm:spPr>
        <a:solidFill>
          <a:srgbClr val="00B050"/>
        </a:solidFill>
      </dgm:spPr>
    </dgm:pt>
    <dgm:pt modelId="{8DCAA082-165D-46FD-9584-C4E39A7FD512}" type="pres">
      <dgm:prSet presAssocID="{D42830DA-FF42-4F8C-8C9B-E2CDEA10AE7A}" presName="txNode" presStyleLbl="fgAcc1" presStyleIdx="0" presStyleCnt="6">
        <dgm:presLayoutVars>
          <dgm:bulletEnabled val="1"/>
        </dgm:presLayoutVars>
      </dgm:prSet>
      <dgm:spPr/>
    </dgm:pt>
    <dgm:pt modelId="{F4965F3A-51E3-431A-B07F-D431E523F4C5}" type="pres">
      <dgm:prSet presAssocID="{35F682E6-CDBE-4740-BFE7-234764C63FBD}" presName="compositeSpace" presStyleCnt="0"/>
      <dgm:spPr/>
    </dgm:pt>
    <dgm:pt modelId="{AB241719-127B-4A2A-8533-97EC4AB0A197}" type="pres">
      <dgm:prSet presAssocID="{5B12F466-11CD-4FCA-970A-FAE62A3D1735}" presName="composite" presStyleCnt="0"/>
      <dgm:spPr/>
    </dgm:pt>
    <dgm:pt modelId="{B6F267B7-3D78-4C47-B3A7-AEE5D8544A44}" type="pres">
      <dgm:prSet presAssocID="{5B12F466-11CD-4FCA-970A-FAE62A3D1735}" presName="bgChev" presStyleLbl="node1" presStyleIdx="1" presStyleCnt="6"/>
      <dgm: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1734786-BE6F-44C6-B040-1163066D9A2A}" type="pres">
      <dgm:prSet presAssocID="{5B12F466-11CD-4FCA-970A-FAE62A3D1735}" presName="txNode" presStyleLbl="fgAcc1" presStyleIdx="1" presStyleCnt="6">
        <dgm:presLayoutVars>
          <dgm:bulletEnabled val="1"/>
        </dgm:presLayoutVars>
      </dgm:prSet>
      <dgm:spPr>
        <a:xfrm>
          <a:off x="1807125" y="2101990"/>
          <a:ext cx="1082738" cy="494925"/>
        </a:xfrm>
        <a:prstGeom prst="roundRect">
          <a:avLst>
            <a:gd name="adj" fmla="val 10000"/>
          </a:avLst>
        </a:prstGeom>
      </dgm:spPr>
    </dgm:pt>
    <dgm:pt modelId="{D1DE3893-AD14-4D6E-B9A9-B59B1DA5625F}" type="pres">
      <dgm:prSet presAssocID="{70158C1C-C099-4D8F-B49E-F8441A36E4B9}" presName="compositeSpace" presStyleCnt="0"/>
      <dgm:spPr/>
    </dgm:pt>
    <dgm:pt modelId="{9FC3DBC2-9690-426B-A0FE-495E091E67B2}" type="pres">
      <dgm:prSet presAssocID="{D084B50C-FA47-474C-AF44-062B66B91B51}" presName="composite" presStyleCnt="0"/>
      <dgm:spPr/>
    </dgm:pt>
    <dgm:pt modelId="{594BB65E-24C2-410A-A0AA-35E209AABE08}" type="pres">
      <dgm:prSet presAssocID="{D084B50C-FA47-474C-AF44-062B66B91B51}" presName="bgChev" presStyleLbl="node1" presStyleIdx="2" presStyleCnt="6"/>
      <dgm: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0E686278-F9A4-4405-8029-E6730A2FAAD8}" type="pres">
      <dgm:prSet presAssocID="{D084B50C-FA47-474C-AF44-062B66B91B51}" presName="txNode" presStyleLbl="fgAcc1" presStyleIdx="2" presStyleCnt="6">
        <dgm:presLayoutVars>
          <dgm:bulletEnabled val="1"/>
        </dgm:presLayoutVars>
      </dgm:prSet>
      <dgm:spPr>
        <a:xfrm>
          <a:off x="3271672" y="2101990"/>
          <a:ext cx="1082738" cy="494925"/>
        </a:xfrm>
        <a:prstGeom prst="roundRect">
          <a:avLst>
            <a:gd name="adj" fmla="val 10000"/>
          </a:avLst>
        </a:prstGeom>
      </dgm:spPr>
    </dgm:pt>
    <dgm:pt modelId="{CC97F9BE-7600-498F-846E-EB5D092953CE}" type="pres">
      <dgm:prSet presAssocID="{E57A9FC9-3A91-4173-918D-182967E03755}" presName="compositeSpace" presStyleCnt="0"/>
      <dgm:spPr/>
    </dgm:pt>
    <dgm:pt modelId="{D7C1725B-3C89-488A-974B-314EC19F742D}" type="pres">
      <dgm:prSet presAssocID="{CB6B2D63-F1CD-4B41-A374-4A89F5DB9702}" presName="composite" presStyleCnt="0"/>
      <dgm:spPr/>
    </dgm:pt>
    <dgm:pt modelId="{98DC50A4-F3A1-4A3D-9290-7FD6826BDAB4}" type="pres">
      <dgm:prSet presAssocID="{CB6B2D63-F1CD-4B41-A374-4A89F5DB9702}" presName="bgChev" presStyleLbl="node1" presStyleIdx="3" presStyleCnt="6"/>
      <dgm: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2BAEC37-129F-4F4A-95AB-BA6E3E1AA5F8}" type="pres">
      <dgm:prSet presAssocID="{CB6B2D63-F1CD-4B41-A374-4A89F5DB9702}" presName="txNode" presStyleLbl="fgAcc1" presStyleIdx="3" presStyleCnt="6">
        <dgm:presLayoutVars>
          <dgm:bulletEnabled val="1"/>
        </dgm:presLayoutVars>
      </dgm:prSet>
      <dgm:spPr>
        <a:xfrm>
          <a:off x="4736218" y="2101990"/>
          <a:ext cx="1082738" cy="494925"/>
        </a:xfrm>
        <a:prstGeom prst="roundRect">
          <a:avLst>
            <a:gd name="adj" fmla="val 10000"/>
          </a:avLst>
        </a:prstGeom>
      </dgm:spPr>
    </dgm:pt>
    <dgm:pt modelId="{D6EA3AA4-7243-4D24-9B16-88C7D23CD2E2}" type="pres">
      <dgm:prSet presAssocID="{6F0632DF-FD39-4B08-B311-A9C7D59EAD7F}" presName="compositeSpace" presStyleCnt="0"/>
      <dgm:spPr/>
    </dgm:pt>
    <dgm:pt modelId="{6A21945A-EA3E-47C0-940F-69B04B68BF87}" type="pres">
      <dgm:prSet presAssocID="{5D3A2E55-369E-4397-8AEF-4DF275D3A9E1}" presName="composite" presStyleCnt="0"/>
      <dgm:spPr/>
    </dgm:pt>
    <dgm:pt modelId="{1B7582D0-CAD1-464A-AD59-93C71BE981E8}" type="pres">
      <dgm:prSet presAssocID="{5D3A2E55-369E-4397-8AEF-4DF275D3A9E1}" presName="bgChev" presStyleLbl="node1" presStyleIdx="4" presStyleCnt="6"/>
      <dgm: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99485BC-37C9-4AAC-A61C-05D0E141368E}" type="pres">
      <dgm:prSet presAssocID="{5D3A2E55-369E-4397-8AEF-4DF275D3A9E1}" presName="txNode" presStyleLbl="fgAcc1" presStyleIdx="4" presStyleCnt="6">
        <dgm:presLayoutVars>
          <dgm:bulletEnabled val="1"/>
        </dgm:presLayoutVars>
      </dgm:prSet>
      <dgm:spPr>
        <a:xfrm>
          <a:off x="6200764" y="2101990"/>
          <a:ext cx="1082738" cy="494925"/>
        </a:xfrm>
        <a:prstGeom prst="roundRect">
          <a:avLst>
            <a:gd name="adj" fmla="val 10000"/>
          </a:avLst>
        </a:prstGeom>
      </dgm:spPr>
    </dgm:pt>
    <dgm:pt modelId="{FA6F6125-6BAD-478E-86F6-93B060ADDCD2}" type="pres">
      <dgm:prSet presAssocID="{25A6BAF9-F819-499A-8C0C-941A93E03683}" presName="compositeSpace" presStyleCnt="0"/>
      <dgm:spPr/>
    </dgm:pt>
    <dgm:pt modelId="{13476606-A548-40BA-BCDD-379E144B7561}" type="pres">
      <dgm:prSet presAssocID="{1E1BF25A-31C0-495C-9F6C-CA13FE5A30AF}" presName="composite" presStyleCnt="0"/>
      <dgm:spPr/>
    </dgm:pt>
    <dgm:pt modelId="{36253102-3F0A-49E8-8650-EEDBAA05AB91}" type="pres">
      <dgm:prSet presAssocID="{1E1BF25A-31C0-495C-9F6C-CA13FE5A30AF}" presName="bgChev" presStyleLbl="node1" presStyleIdx="5" presStyleCnt="6"/>
      <dgm: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B097882A-E2BC-400D-97C7-48AF6A09D6EE}" type="pres">
      <dgm:prSet presAssocID="{1E1BF25A-31C0-495C-9F6C-CA13FE5A30AF}" presName="txNode" presStyleLbl="fgAcc1" presStyleIdx="5" presStyleCnt="6">
        <dgm:presLayoutVars>
          <dgm:bulletEnabled val="1"/>
        </dgm:presLayoutVars>
      </dgm:prSet>
      <dgm:spPr>
        <a:xfrm>
          <a:off x="7665311" y="2101990"/>
          <a:ext cx="1082738" cy="494925"/>
        </a:xfrm>
        <a:prstGeom prst="roundRect">
          <a:avLst>
            <a:gd name="adj" fmla="val 10000"/>
          </a:avLst>
        </a:prstGeom>
      </dgm:spPr>
    </dgm:pt>
  </dgm:ptLst>
  <dgm:cxnLst>
    <dgm:cxn modelId="{52C3CFA3-363F-44CB-AB08-03F8DE60BC3C}" srcId="{C28995D2-452F-4EB3-AEF1-A1C71918BC95}" destId="{CB6B2D63-F1CD-4B41-A374-4A89F5DB9702}" srcOrd="3" destOrd="0" parTransId="{3BF3136B-0CA4-4570-A95F-5A45D0C6B175}" sibTransId="{6F0632DF-FD39-4B08-B311-A9C7D59EAD7F}"/>
    <dgm:cxn modelId="{689490E7-4509-4886-BA94-B05176D04FC0}" srcId="{C28995D2-452F-4EB3-AEF1-A1C71918BC95}" destId="{5B12F466-11CD-4FCA-970A-FAE62A3D1735}" srcOrd="1" destOrd="0" parTransId="{D3FF45BF-B28D-4716-B524-EAF59DBFB435}" sibTransId="{70158C1C-C099-4D8F-B49E-F8441A36E4B9}"/>
    <dgm:cxn modelId="{C4F15462-D693-4779-BBD7-236C0E17A766}" srcId="{C28995D2-452F-4EB3-AEF1-A1C71918BC95}" destId="{D42830DA-FF42-4F8C-8C9B-E2CDEA10AE7A}" srcOrd="0" destOrd="0" parTransId="{479AEC31-9AB1-4E21-B3CD-4700DA10710B}" sibTransId="{35F682E6-CDBE-4740-BFE7-234764C63FBD}"/>
    <dgm:cxn modelId="{175FD2C4-00AC-4535-B034-5B53339577BC}" type="presOf" srcId="{1E1BF25A-31C0-495C-9F6C-CA13FE5A30AF}" destId="{B097882A-E2BC-400D-97C7-48AF6A09D6EE}" srcOrd="0" destOrd="0" presId="urn:microsoft.com/office/officeart/2005/8/layout/chevronAccent+Icon"/>
    <dgm:cxn modelId="{1F2BBFDA-4B45-491F-A3C9-A61858B96878}" srcId="{C28995D2-452F-4EB3-AEF1-A1C71918BC95}" destId="{D084B50C-FA47-474C-AF44-062B66B91B51}" srcOrd="2" destOrd="0" parTransId="{760BB5B9-3483-41B6-AAA2-89EAA1940789}" sibTransId="{E57A9FC9-3A91-4173-918D-182967E03755}"/>
    <dgm:cxn modelId="{627172ED-2FC7-4348-A615-70A6CD524D8A}" type="presOf" srcId="{C28995D2-452F-4EB3-AEF1-A1C71918BC95}" destId="{6135B44F-A705-4807-AA11-FB16B66E98CD}" srcOrd="0" destOrd="0" presId="urn:microsoft.com/office/officeart/2005/8/layout/chevronAccent+Icon"/>
    <dgm:cxn modelId="{F99A9035-86FD-4CAD-B4CD-844C605B44CA}" srcId="{C28995D2-452F-4EB3-AEF1-A1C71918BC95}" destId="{1E1BF25A-31C0-495C-9F6C-CA13FE5A30AF}" srcOrd="5" destOrd="0" parTransId="{1F34AF5A-5A2E-4817-AE38-64CA7A03E1D6}" sibTransId="{A790C6A0-AE50-46DB-B063-E2A26596BC14}"/>
    <dgm:cxn modelId="{04C60D6C-22F3-4F5B-81D1-F67946D0F0B3}" type="presOf" srcId="{D084B50C-FA47-474C-AF44-062B66B91B51}" destId="{0E686278-F9A4-4405-8029-E6730A2FAAD8}" srcOrd="0" destOrd="0" presId="urn:microsoft.com/office/officeart/2005/8/layout/chevronAccent+Icon"/>
    <dgm:cxn modelId="{EB1ED7C6-FE7C-4C71-8F2F-6977314177D8}" type="presOf" srcId="{5D3A2E55-369E-4397-8AEF-4DF275D3A9E1}" destId="{F99485BC-37C9-4AAC-A61C-05D0E141368E}" srcOrd="0" destOrd="0" presId="urn:microsoft.com/office/officeart/2005/8/layout/chevronAccent+Icon"/>
    <dgm:cxn modelId="{7FAA88D2-6308-425C-AE0D-0263E7C477C0}" type="presOf" srcId="{CB6B2D63-F1CD-4B41-A374-4A89F5DB9702}" destId="{F2BAEC37-129F-4F4A-95AB-BA6E3E1AA5F8}" srcOrd="0" destOrd="0" presId="urn:microsoft.com/office/officeart/2005/8/layout/chevronAccent+Icon"/>
    <dgm:cxn modelId="{1EEF876B-904B-40CE-8A94-C57590C16A8A}" type="presOf" srcId="{D42830DA-FF42-4F8C-8C9B-E2CDEA10AE7A}" destId="{8DCAA082-165D-46FD-9584-C4E39A7FD512}" srcOrd="0" destOrd="0" presId="urn:microsoft.com/office/officeart/2005/8/layout/chevronAccent+Icon"/>
    <dgm:cxn modelId="{CF831CED-C5AF-45F6-B707-56EDF73295C1}" type="presOf" srcId="{5B12F466-11CD-4FCA-970A-FAE62A3D1735}" destId="{F1734786-BE6F-44C6-B040-1163066D9A2A}" srcOrd="0" destOrd="0" presId="urn:microsoft.com/office/officeart/2005/8/layout/chevronAccent+Icon"/>
    <dgm:cxn modelId="{95B55018-4D00-4DA1-92D1-5368EFC75D6F}" srcId="{C28995D2-452F-4EB3-AEF1-A1C71918BC95}" destId="{5D3A2E55-369E-4397-8AEF-4DF275D3A9E1}" srcOrd="4" destOrd="0" parTransId="{CB56750C-37FE-490C-901C-D184575D9755}" sibTransId="{25A6BAF9-F819-499A-8C0C-941A93E03683}"/>
    <dgm:cxn modelId="{9AA89BCF-1674-4936-B30B-FBE4E81FA3B5}" type="presParOf" srcId="{6135B44F-A705-4807-AA11-FB16B66E98CD}" destId="{9E5122E6-9BE1-44C8-9BC5-8B5006BB07C2}" srcOrd="0" destOrd="0" presId="urn:microsoft.com/office/officeart/2005/8/layout/chevronAccent+Icon"/>
    <dgm:cxn modelId="{4BE29805-6134-4B0D-8FB0-B7049B135711}" type="presParOf" srcId="{9E5122E6-9BE1-44C8-9BC5-8B5006BB07C2}" destId="{71B53F86-0F5E-4890-BE68-582C464FB9BD}" srcOrd="0" destOrd="0" presId="urn:microsoft.com/office/officeart/2005/8/layout/chevronAccent+Icon"/>
    <dgm:cxn modelId="{3C377BA3-C4C5-4E7D-B6A2-C9ED930C42AC}" type="presParOf" srcId="{9E5122E6-9BE1-44C8-9BC5-8B5006BB07C2}" destId="{8DCAA082-165D-46FD-9584-C4E39A7FD512}" srcOrd="1" destOrd="0" presId="urn:microsoft.com/office/officeart/2005/8/layout/chevronAccent+Icon"/>
    <dgm:cxn modelId="{ABA1DD38-8502-45EF-A95D-BAF2156D632B}" type="presParOf" srcId="{6135B44F-A705-4807-AA11-FB16B66E98CD}" destId="{F4965F3A-51E3-431A-B07F-D431E523F4C5}" srcOrd="1" destOrd="0" presId="urn:microsoft.com/office/officeart/2005/8/layout/chevronAccent+Icon"/>
    <dgm:cxn modelId="{D747E895-C3DA-4537-8120-A1304C0B7618}" type="presParOf" srcId="{6135B44F-A705-4807-AA11-FB16B66E98CD}" destId="{AB241719-127B-4A2A-8533-97EC4AB0A197}" srcOrd="2" destOrd="0" presId="urn:microsoft.com/office/officeart/2005/8/layout/chevronAccent+Icon"/>
    <dgm:cxn modelId="{23234512-E148-4FA4-BE41-4A3F19A4C567}" type="presParOf" srcId="{AB241719-127B-4A2A-8533-97EC4AB0A197}" destId="{B6F267B7-3D78-4C47-B3A7-AEE5D8544A44}" srcOrd="0" destOrd="0" presId="urn:microsoft.com/office/officeart/2005/8/layout/chevronAccent+Icon"/>
    <dgm:cxn modelId="{BADBA4E0-4531-4C8E-BF0B-5E6EE6E7D963}" type="presParOf" srcId="{AB241719-127B-4A2A-8533-97EC4AB0A197}" destId="{F1734786-BE6F-44C6-B040-1163066D9A2A}" srcOrd="1" destOrd="0" presId="urn:microsoft.com/office/officeart/2005/8/layout/chevronAccent+Icon"/>
    <dgm:cxn modelId="{9B2051AE-794A-492C-BBCD-0D3ECE958FDC}" type="presParOf" srcId="{6135B44F-A705-4807-AA11-FB16B66E98CD}" destId="{D1DE3893-AD14-4D6E-B9A9-B59B1DA5625F}" srcOrd="3" destOrd="0" presId="urn:microsoft.com/office/officeart/2005/8/layout/chevronAccent+Icon"/>
    <dgm:cxn modelId="{9C012F2E-DE6A-4415-84A5-5E0CECD0D731}" type="presParOf" srcId="{6135B44F-A705-4807-AA11-FB16B66E98CD}" destId="{9FC3DBC2-9690-426B-A0FE-495E091E67B2}" srcOrd="4" destOrd="0" presId="urn:microsoft.com/office/officeart/2005/8/layout/chevronAccent+Icon"/>
    <dgm:cxn modelId="{8BA36445-D87D-42FC-9D83-C7236D6E02F0}" type="presParOf" srcId="{9FC3DBC2-9690-426B-A0FE-495E091E67B2}" destId="{594BB65E-24C2-410A-A0AA-35E209AABE08}" srcOrd="0" destOrd="0" presId="urn:microsoft.com/office/officeart/2005/8/layout/chevronAccent+Icon"/>
    <dgm:cxn modelId="{65557962-3778-49CA-8BD1-812B367F04C6}" type="presParOf" srcId="{9FC3DBC2-9690-426B-A0FE-495E091E67B2}" destId="{0E686278-F9A4-4405-8029-E6730A2FAAD8}" srcOrd="1" destOrd="0" presId="urn:microsoft.com/office/officeart/2005/8/layout/chevronAccent+Icon"/>
    <dgm:cxn modelId="{C39A382B-EA5A-46F8-A9AA-CFD66D8F8B74}" type="presParOf" srcId="{6135B44F-A705-4807-AA11-FB16B66E98CD}" destId="{CC97F9BE-7600-498F-846E-EB5D092953CE}" srcOrd="5" destOrd="0" presId="urn:microsoft.com/office/officeart/2005/8/layout/chevronAccent+Icon"/>
    <dgm:cxn modelId="{83316EF5-9C8F-48D0-8696-168F5BA412D2}" type="presParOf" srcId="{6135B44F-A705-4807-AA11-FB16B66E98CD}" destId="{D7C1725B-3C89-488A-974B-314EC19F742D}" srcOrd="6" destOrd="0" presId="urn:microsoft.com/office/officeart/2005/8/layout/chevronAccent+Icon"/>
    <dgm:cxn modelId="{B0538EEC-8A55-4204-AD17-EE0FB547E88B}" type="presParOf" srcId="{D7C1725B-3C89-488A-974B-314EC19F742D}" destId="{98DC50A4-F3A1-4A3D-9290-7FD6826BDAB4}" srcOrd="0" destOrd="0" presId="urn:microsoft.com/office/officeart/2005/8/layout/chevronAccent+Icon"/>
    <dgm:cxn modelId="{2D3963DD-4F88-4A6B-9FF5-FB1BD7826E45}" type="presParOf" srcId="{D7C1725B-3C89-488A-974B-314EC19F742D}" destId="{F2BAEC37-129F-4F4A-95AB-BA6E3E1AA5F8}" srcOrd="1" destOrd="0" presId="urn:microsoft.com/office/officeart/2005/8/layout/chevronAccent+Icon"/>
    <dgm:cxn modelId="{245EA18E-71A8-4DAE-8218-9D7899561878}" type="presParOf" srcId="{6135B44F-A705-4807-AA11-FB16B66E98CD}" destId="{D6EA3AA4-7243-4D24-9B16-88C7D23CD2E2}" srcOrd="7" destOrd="0" presId="urn:microsoft.com/office/officeart/2005/8/layout/chevronAccent+Icon"/>
    <dgm:cxn modelId="{A12F3A9F-A4C7-42E6-8C80-8A595311A3D0}" type="presParOf" srcId="{6135B44F-A705-4807-AA11-FB16B66E98CD}" destId="{6A21945A-EA3E-47C0-940F-69B04B68BF87}" srcOrd="8" destOrd="0" presId="urn:microsoft.com/office/officeart/2005/8/layout/chevronAccent+Icon"/>
    <dgm:cxn modelId="{92FD3CC1-605D-4898-8107-A78F8297BA0C}" type="presParOf" srcId="{6A21945A-EA3E-47C0-940F-69B04B68BF87}" destId="{1B7582D0-CAD1-464A-AD59-93C71BE981E8}" srcOrd="0" destOrd="0" presId="urn:microsoft.com/office/officeart/2005/8/layout/chevronAccent+Icon"/>
    <dgm:cxn modelId="{12196B3A-24EA-447B-B6B4-54F1341B0E54}" type="presParOf" srcId="{6A21945A-EA3E-47C0-940F-69B04B68BF87}" destId="{F99485BC-37C9-4AAC-A61C-05D0E141368E}" srcOrd="1" destOrd="0" presId="urn:microsoft.com/office/officeart/2005/8/layout/chevronAccent+Icon"/>
    <dgm:cxn modelId="{956E2394-8763-4623-A54D-9E291000BC44}" type="presParOf" srcId="{6135B44F-A705-4807-AA11-FB16B66E98CD}" destId="{FA6F6125-6BAD-478E-86F6-93B060ADDCD2}" srcOrd="9" destOrd="0" presId="urn:microsoft.com/office/officeart/2005/8/layout/chevronAccent+Icon"/>
    <dgm:cxn modelId="{E8E79BB7-91E7-4889-A03C-8E6267261035}" type="presParOf" srcId="{6135B44F-A705-4807-AA11-FB16B66E98CD}" destId="{13476606-A548-40BA-BCDD-379E144B7561}" srcOrd="10" destOrd="0" presId="urn:microsoft.com/office/officeart/2005/8/layout/chevronAccent+Icon"/>
    <dgm:cxn modelId="{7D7D5D19-EF46-4037-9BEF-C82B7325BF5C}" type="presParOf" srcId="{13476606-A548-40BA-BCDD-379E144B7561}" destId="{36253102-3F0A-49E8-8650-EEDBAA05AB91}" srcOrd="0" destOrd="0" presId="urn:microsoft.com/office/officeart/2005/8/layout/chevronAccent+Icon"/>
    <dgm:cxn modelId="{738BD558-3B34-4442-9B8D-2CBF357E86D7}" type="presParOf" srcId="{13476606-A548-40BA-BCDD-379E144B7561}" destId="{B097882A-E2BC-400D-97C7-48AF6A09D6EE}"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F37E22-875A-4743-B1FD-419355DC370A}">
      <dsp:nvSpPr>
        <dsp:cNvPr id="0" name=""/>
        <dsp:cNvSpPr/>
      </dsp:nvSpPr>
      <dsp:spPr>
        <a:xfrm>
          <a:off x="3384222" y="1643216"/>
          <a:ext cx="2902351" cy="201485"/>
        </a:xfrm>
        <a:custGeom>
          <a:avLst/>
          <a:gdLst/>
          <a:ahLst/>
          <a:cxnLst/>
          <a:rect l="0" t="0" r="0" b="0"/>
          <a:pathLst>
            <a:path>
              <a:moveTo>
                <a:pt x="0" y="0"/>
              </a:moveTo>
              <a:lnTo>
                <a:pt x="0" y="100742"/>
              </a:lnTo>
              <a:lnTo>
                <a:pt x="2902351" y="100742"/>
              </a:lnTo>
              <a:lnTo>
                <a:pt x="2902351"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035675-5CD6-4783-B08C-DEA8FB157A96}">
      <dsp:nvSpPr>
        <dsp:cNvPr id="0" name=""/>
        <dsp:cNvSpPr/>
      </dsp:nvSpPr>
      <dsp:spPr>
        <a:xfrm>
          <a:off x="3384222" y="1643216"/>
          <a:ext cx="1741411" cy="201485"/>
        </a:xfrm>
        <a:custGeom>
          <a:avLst/>
          <a:gdLst/>
          <a:ahLst/>
          <a:cxnLst/>
          <a:rect l="0" t="0" r="0" b="0"/>
          <a:pathLst>
            <a:path>
              <a:moveTo>
                <a:pt x="0" y="0"/>
              </a:moveTo>
              <a:lnTo>
                <a:pt x="0" y="100742"/>
              </a:lnTo>
              <a:lnTo>
                <a:pt x="1741411" y="100742"/>
              </a:lnTo>
              <a:lnTo>
                <a:pt x="1741411"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33100F-1A64-4E01-BF38-7D3EDC99C509}">
      <dsp:nvSpPr>
        <dsp:cNvPr id="0" name=""/>
        <dsp:cNvSpPr/>
      </dsp:nvSpPr>
      <dsp:spPr>
        <a:xfrm>
          <a:off x="3384222" y="1643216"/>
          <a:ext cx="580470" cy="201485"/>
        </a:xfrm>
        <a:custGeom>
          <a:avLst/>
          <a:gdLst/>
          <a:ahLst/>
          <a:cxnLst/>
          <a:rect l="0" t="0" r="0" b="0"/>
          <a:pathLst>
            <a:path>
              <a:moveTo>
                <a:pt x="0" y="0"/>
              </a:moveTo>
              <a:lnTo>
                <a:pt x="0" y="100742"/>
              </a:lnTo>
              <a:lnTo>
                <a:pt x="580470" y="100742"/>
              </a:lnTo>
              <a:lnTo>
                <a:pt x="58047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D3F6AD-69D2-444D-AA78-50EF7A406B4A}">
      <dsp:nvSpPr>
        <dsp:cNvPr id="0" name=""/>
        <dsp:cNvSpPr/>
      </dsp:nvSpPr>
      <dsp:spPr>
        <a:xfrm>
          <a:off x="2803752" y="1643216"/>
          <a:ext cx="580470" cy="201485"/>
        </a:xfrm>
        <a:custGeom>
          <a:avLst/>
          <a:gdLst/>
          <a:ahLst/>
          <a:cxnLst/>
          <a:rect l="0" t="0" r="0" b="0"/>
          <a:pathLst>
            <a:path>
              <a:moveTo>
                <a:pt x="580470" y="0"/>
              </a:moveTo>
              <a:lnTo>
                <a:pt x="580470"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ACC231-73A8-40AA-A60B-55C60897B09D}">
      <dsp:nvSpPr>
        <dsp:cNvPr id="0" name=""/>
        <dsp:cNvSpPr/>
      </dsp:nvSpPr>
      <dsp:spPr>
        <a:xfrm>
          <a:off x="1642811" y="1643216"/>
          <a:ext cx="1741411" cy="201485"/>
        </a:xfrm>
        <a:custGeom>
          <a:avLst/>
          <a:gdLst/>
          <a:ahLst/>
          <a:cxnLst/>
          <a:rect l="0" t="0" r="0" b="0"/>
          <a:pathLst>
            <a:path>
              <a:moveTo>
                <a:pt x="1741411" y="0"/>
              </a:moveTo>
              <a:lnTo>
                <a:pt x="1741411"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3F37704-7AB9-4720-BCFF-95B3CABC0E89}">
      <dsp:nvSpPr>
        <dsp:cNvPr id="0" name=""/>
        <dsp:cNvSpPr/>
      </dsp:nvSpPr>
      <dsp:spPr>
        <a:xfrm>
          <a:off x="481870" y="1643216"/>
          <a:ext cx="2902351" cy="201485"/>
        </a:xfrm>
        <a:custGeom>
          <a:avLst/>
          <a:gdLst/>
          <a:ahLst/>
          <a:cxnLst/>
          <a:rect l="0" t="0" r="0" b="0"/>
          <a:pathLst>
            <a:path>
              <a:moveTo>
                <a:pt x="2902351" y="0"/>
              </a:moveTo>
              <a:lnTo>
                <a:pt x="2902351" y="100742"/>
              </a:lnTo>
              <a:lnTo>
                <a:pt x="0" y="100742"/>
              </a:lnTo>
              <a:lnTo>
                <a:pt x="0" y="2014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B355A1-E3BE-493E-A491-0B78238D29B3}">
      <dsp:nvSpPr>
        <dsp:cNvPr id="0" name=""/>
        <dsp:cNvSpPr/>
      </dsp:nvSpPr>
      <dsp:spPr>
        <a:xfrm>
          <a:off x="2904494" y="1163488"/>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FFFFFF"/>
              </a:solidFill>
              <a:latin typeface="Arial"/>
              <a:ea typeface="+mn-ea"/>
              <a:cs typeface="+mn-cs"/>
            </a:rPr>
            <a:t>CEO</a:t>
          </a:r>
        </a:p>
      </dsp:txBody>
      <dsp:txXfrm>
        <a:off x="2904494" y="1163488"/>
        <a:ext cx="959455" cy="479727"/>
      </dsp:txXfrm>
    </dsp:sp>
    <dsp:sp modelId="{025D5DD2-2453-44D0-86FD-328B8F97FA3B}">
      <dsp:nvSpPr>
        <dsp:cNvPr id="0" name=""/>
        <dsp:cNvSpPr/>
      </dsp:nvSpPr>
      <ds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Finance</a:t>
          </a:r>
        </a:p>
      </dsp:txBody>
      <dsp:txXfrm>
        <a:off x="2143" y="1844701"/>
        <a:ext cx="959455" cy="479727"/>
      </dsp:txXfrm>
    </dsp:sp>
    <dsp:sp modelId="{9D0B82E0-15FF-4788-ADE7-B5010DABD6C4}">
      <dsp:nvSpPr>
        <dsp:cNvPr id="0" name=""/>
        <dsp:cNvSpPr/>
      </dsp:nvSpPr>
      <dsp:spPr>
        <a:xfrm>
          <a:off x="116308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HR</a:t>
          </a:r>
        </a:p>
      </dsp:txBody>
      <dsp:txXfrm>
        <a:off x="1163083" y="1844701"/>
        <a:ext cx="959455" cy="479727"/>
      </dsp:txXfrm>
    </dsp:sp>
    <dsp:sp modelId="{12256991-FCF6-41AB-BBB2-C19F93D4D559}">
      <dsp:nvSpPr>
        <dsp:cNvPr id="0" name=""/>
        <dsp:cNvSpPr/>
      </dsp:nvSpPr>
      <dsp:spPr>
        <a:xfrm>
          <a:off x="2324024"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FFFFFF"/>
              </a:solidFill>
              <a:latin typeface="Arial"/>
              <a:ea typeface="+mn-ea"/>
              <a:cs typeface="+mn-cs"/>
            </a:rPr>
            <a:t>Marketing</a:t>
          </a:r>
        </a:p>
      </dsp:txBody>
      <dsp:txXfrm>
        <a:off x="2324024" y="1844701"/>
        <a:ext cx="959455" cy="479727"/>
      </dsp:txXfrm>
    </dsp:sp>
    <dsp:sp modelId="{BF425478-C3F2-48B9-9977-61E27B5792C2}">
      <dsp:nvSpPr>
        <dsp:cNvPr id="0" name=""/>
        <dsp:cNvSpPr/>
      </dsp:nvSpPr>
      <dsp:spPr>
        <a:xfrm>
          <a:off x="3484965"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R&amp;D</a:t>
          </a:r>
        </a:p>
      </dsp:txBody>
      <dsp:txXfrm>
        <a:off x="3484965" y="1844701"/>
        <a:ext cx="959455" cy="479727"/>
      </dsp:txXfrm>
    </dsp:sp>
    <dsp:sp modelId="{2B6C4597-25EC-4443-B376-6E9E2BE59A78}">
      <dsp:nvSpPr>
        <dsp:cNvPr id="0" name=""/>
        <dsp:cNvSpPr/>
      </dsp:nvSpPr>
      <dsp:spPr>
        <a:xfrm>
          <a:off x="4645906"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IT</a:t>
          </a:r>
        </a:p>
      </dsp:txBody>
      <dsp:txXfrm>
        <a:off x="4645906" y="1844701"/>
        <a:ext cx="959455" cy="479727"/>
      </dsp:txXfrm>
    </dsp:sp>
    <dsp:sp modelId="{E6385154-4BEC-48F2-810C-490782F3498C}">
      <dsp:nvSpPr>
        <dsp:cNvPr id="0" name=""/>
        <dsp:cNvSpPr/>
      </dsp:nvSpPr>
      <dsp:spPr>
        <a:xfrm>
          <a:off x="5806846" y="1844701"/>
          <a:ext cx="959455" cy="479727"/>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Production</a:t>
          </a:r>
        </a:p>
      </dsp:txBody>
      <dsp:txXfrm>
        <a:off x="5806846" y="1844701"/>
        <a:ext cx="959455" cy="479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412306" y="-828761"/>
          <a:ext cx="6444506" cy="6444506"/>
        </a:xfrm>
        <a:prstGeom prst="blockArc">
          <a:avLst>
            <a:gd name="adj1" fmla="val 18900000"/>
            <a:gd name="adj2" fmla="val 2700000"/>
            <a:gd name="adj3" fmla="val 33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40384" y="368023"/>
          <a:ext cx="7052855" cy="736429"/>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solidFill>
                <a:srgbClr val="FFFFFF"/>
              </a:solidFill>
              <a:latin typeface="Arial"/>
              <a:ea typeface="+mn-ea"/>
              <a:cs typeface="+mn-cs"/>
            </a:rPr>
            <a:t>Within the project team</a:t>
          </a:r>
        </a:p>
      </dsp:txBody>
      <dsp:txXfrm>
        <a:off x="540384" y="368023"/>
        <a:ext cx="7052855" cy="736429"/>
      </dsp:txXfrm>
    </dsp:sp>
    <dsp:sp modelId="{D6A1C2C8-482A-48B3-A453-D1C4D0784EFE}">
      <dsp:nvSpPr>
        <dsp:cNvPr id="0" name=""/>
        <dsp:cNvSpPr/>
      </dsp:nvSpPr>
      <dsp:spPr>
        <a:xfrm>
          <a:off x="80115" y="275969"/>
          <a:ext cx="920537" cy="920537"/>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962596" y="1472859"/>
          <a:ext cx="6630643" cy="736429"/>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marL="0" lvl="0" indent="0" algn="l" defTabSz="889000">
            <a:lnSpc>
              <a:spcPct val="90000"/>
            </a:lnSpc>
            <a:spcBef>
              <a:spcPct val="0"/>
            </a:spcBef>
            <a:spcAft>
              <a:spcPct val="35000"/>
            </a:spcAft>
            <a:buNone/>
          </a:pPr>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sp:txBody>
      <dsp:txXfrm>
        <a:off x="962596" y="1472859"/>
        <a:ext cx="6630643" cy="736429"/>
      </dsp:txXfrm>
    </dsp:sp>
    <dsp:sp modelId="{5E035B1D-C58A-4864-9F56-F5486D50D7BB}">
      <dsp:nvSpPr>
        <dsp:cNvPr id="0" name=""/>
        <dsp:cNvSpPr/>
      </dsp:nvSpPr>
      <dsp:spPr>
        <a:xfrm>
          <a:off x="502327" y="1380805"/>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962596" y="2577695"/>
          <a:ext cx="6630643"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sp:txBody>
      <dsp:txXfrm>
        <a:off x="962596" y="2577695"/>
        <a:ext cx="6630643" cy="736429"/>
      </dsp:txXfrm>
    </dsp:sp>
    <dsp:sp modelId="{48ED13C2-9887-4F08-AAB7-51F54B6BCE1B}">
      <dsp:nvSpPr>
        <dsp:cNvPr id="0" name=""/>
        <dsp:cNvSpPr/>
      </dsp:nvSpPr>
      <dsp:spPr>
        <a:xfrm>
          <a:off x="502327" y="2485641"/>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40384" y="3682531"/>
          <a:ext cx="7052855"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sp:txBody>
      <dsp:txXfrm>
        <a:off x="540384" y="3682531"/>
        <a:ext cx="7052855" cy="736429"/>
      </dsp:txXfrm>
    </dsp:sp>
    <dsp:sp modelId="{54B5886E-9ADD-4671-BCE7-27560275EA8A}">
      <dsp:nvSpPr>
        <dsp:cNvPr id="0" name=""/>
        <dsp:cNvSpPr/>
      </dsp:nvSpPr>
      <dsp:spPr>
        <a:xfrm>
          <a:off x="80115" y="3590477"/>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1A4DEA-95FB-4397-9260-1D685A0A0A54}">
      <dsp:nvSpPr>
        <dsp:cNvPr id="0" name=""/>
        <dsp:cNvSpPr/>
      </dsp:nvSpPr>
      <dsp:spPr>
        <a:xfrm>
          <a:off x="1501378" y="0"/>
          <a:ext cx="5064125" cy="5064125"/>
        </a:xfrm>
        <a:prstGeom prst="triangle">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BAD6B0-7AAC-4444-9F49-3C3DC0E5BF0E}">
      <dsp:nvSpPr>
        <dsp:cNvPr id="0" name=""/>
        <dsp:cNvSpPr/>
      </dsp:nvSpPr>
      <dsp:spPr>
        <a:xfrm>
          <a:off x="4033440" y="50913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sp:txBody>
      <dsp:txXfrm>
        <a:off x="4062700" y="538392"/>
        <a:ext cx="3233161" cy="540866"/>
      </dsp:txXfrm>
    </dsp:sp>
    <dsp:sp modelId="{579B438A-D0F9-457F-9D53-CAEE27E539AD}">
      <dsp:nvSpPr>
        <dsp:cNvPr id="0" name=""/>
        <dsp:cNvSpPr/>
      </dsp:nvSpPr>
      <dsp:spPr>
        <a:xfrm>
          <a:off x="4033440" y="118344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sp:txBody>
      <dsp:txXfrm>
        <a:off x="4062700" y="1212702"/>
        <a:ext cx="3233161" cy="540866"/>
      </dsp:txXfrm>
    </dsp:sp>
    <dsp:sp modelId="{606332FD-EEBB-4EA4-BBF6-AC77F367D068}">
      <dsp:nvSpPr>
        <dsp:cNvPr id="0" name=""/>
        <dsp:cNvSpPr/>
      </dsp:nvSpPr>
      <dsp:spPr>
        <a:xfrm>
          <a:off x="4033440" y="185775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sp:txBody>
      <dsp:txXfrm>
        <a:off x="4062700" y="1887012"/>
        <a:ext cx="3233161" cy="540866"/>
      </dsp:txXfrm>
    </dsp:sp>
    <dsp:sp modelId="{34FF16FD-49CB-4331-A72D-0EB4F79985A4}">
      <dsp:nvSpPr>
        <dsp:cNvPr id="0" name=""/>
        <dsp:cNvSpPr/>
      </dsp:nvSpPr>
      <dsp:spPr>
        <a:xfrm>
          <a:off x="4033440" y="253206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sp:txBody>
      <dsp:txXfrm>
        <a:off x="4062700" y="2561322"/>
        <a:ext cx="3233161" cy="540866"/>
      </dsp:txXfrm>
    </dsp:sp>
    <dsp:sp modelId="{4AD649CD-478B-48C9-A961-D73D985838ED}">
      <dsp:nvSpPr>
        <dsp:cNvPr id="0" name=""/>
        <dsp:cNvSpPr/>
      </dsp:nvSpPr>
      <dsp:spPr>
        <a:xfrm>
          <a:off x="4033440" y="320637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sp:txBody>
      <dsp:txXfrm>
        <a:off x="4062700" y="3235632"/>
        <a:ext cx="3233161" cy="540866"/>
      </dsp:txXfrm>
    </dsp:sp>
    <dsp:sp modelId="{62977B49-B0C2-4B94-B488-88BD098E2BC1}">
      <dsp:nvSpPr>
        <dsp:cNvPr id="0" name=""/>
        <dsp:cNvSpPr/>
      </dsp:nvSpPr>
      <dsp:spPr>
        <a:xfrm>
          <a:off x="4033440" y="388068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sp:txBody>
      <dsp:txXfrm>
        <a:off x="4062700" y="3909942"/>
        <a:ext cx="3233161" cy="540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793265" y="-886677"/>
          <a:ext cx="6897058" cy="6897058"/>
        </a:xfrm>
        <a:prstGeom prst="blockArc">
          <a:avLst>
            <a:gd name="adj1" fmla="val 18900000"/>
            <a:gd name="adj2" fmla="val 2700000"/>
            <a:gd name="adj3" fmla="val 31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77762" y="393910"/>
          <a:ext cx="3548870" cy="788230"/>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marL="0" lvl="0" indent="0" algn="l" defTabSz="889000">
            <a:lnSpc>
              <a:spcPct val="90000"/>
            </a:lnSpc>
            <a:spcBef>
              <a:spcPct val="0"/>
            </a:spcBef>
            <a:spcAft>
              <a:spcPct val="35000"/>
            </a:spcAft>
            <a:buNone/>
          </a:pPr>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sp:txBody>
      <dsp:txXfrm>
        <a:off x="577762" y="393910"/>
        <a:ext cx="3548870" cy="788230"/>
      </dsp:txXfrm>
    </dsp:sp>
    <dsp:sp modelId="{D6A1C2C8-482A-48B3-A453-D1C4D0784EFE}">
      <dsp:nvSpPr>
        <dsp:cNvPr id="0" name=""/>
        <dsp:cNvSpPr/>
      </dsp:nvSpPr>
      <dsp:spPr>
        <a:xfrm>
          <a:off x="85118" y="295381"/>
          <a:ext cx="985288" cy="985288"/>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1029672" y="1576461"/>
          <a:ext cx="3096959" cy="788230"/>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sp:txBody>
      <dsp:txXfrm>
        <a:off x="1029672" y="1576461"/>
        <a:ext cx="3096959" cy="788230"/>
      </dsp:txXfrm>
    </dsp:sp>
    <dsp:sp modelId="{5E035B1D-C58A-4864-9F56-F5486D50D7BB}">
      <dsp:nvSpPr>
        <dsp:cNvPr id="0" name=""/>
        <dsp:cNvSpPr/>
      </dsp:nvSpPr>
      <dsp:spPr>
        <a:xfrm>
          <a:off x="537028" y="1477932"/>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1029672" y="2759012"/>
          <a:ext cx="3096959"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sp:txBody>
      <dsp:txXfrm>
        <a:off x="1029672" y="2759012"/>
        <a:ext cx="3096959" cy="788230"/>
      </dsp:txXfrm>
    </dsp:sp>
    <dsp:sp modelId="{48ED13C2-9887-4F08-AAB7-51F54B6BCE1B}">
      <dsp:nvSpPr>
        <dsp:cNvPr id="0" name=""/>
        <dsp:cNvSpPr/>
      </dsp:nvSpPr>
      <dsp:spPr>
        <a:xfrm>
          <a:off x="537028" y="2660483"/>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77762" y="3941563"/>
          <a:ext cx="3548870"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sp:txBody>
      <dsp:txXfrm>
        <a:off x="577762" y="3941563"/>
        <a:ext cx="3548870" cy="788230"/>
      </dsp:txXfrm>
    </dsp:sp>
    <dsp:sp modelId="{54B5886E-9ADD-4671-BCE7-27560275EA8A}">
      <dsp:nvSpPr>
        <dsp:cNvPr id="0" name=""/>
        <dsp:cNvSpPr/>
      </dsp:nvSpPr>
      <dsp:spPr>
        <a:xfrm>
          <a:off x="85118" y="3843034"/>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B53F86-0F5E-4890-BE68-582C464FB9BD}">
      <dsp:nvSpPr>
        <dsp:cNvPr id="0" name=""/>
        <dsp:cNvSpPr/>
      </dsp:nvSpPr>
      <dsp:spPr>
        <a:xfrm>
          <a:off x="662" y="1978259"/>
          <a:ext cx="1282190" cy="494925"/>
        </a:xfrm>
        <a:prstGeom prst="chevron">
          <a:avLst>
            <a:gd name="adj" fmla="val 4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CAA082-165D-46FD-9584-C4E39A7FD512}">
      <dsp:nvSpPr>
        <dsp:cNvPr id="0" name=""/>
        <dsp:cNvSpPr/>
      </dsp:nvSpPr>
      <dsp:spPr>
        <a:xfrm>
          <a:off x="342579" y="2101990"/>
          <a:ext cx="1082738" cy="494925"/>
        </a:xfrm>
        <a:prstGeom prst="roundRect">
          <a:avLst>
            <a:gd name="adj" fmla="val 10000"/>
          </a:avLst>
        </a:prstGeom>
        <a:solidFill>
          <a:schemeClr val="lt1">
            <a:alpha val="90000"/>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dirty="0"/>
            <a:t>Conceptualisation</a:t>
          </a:r>
        </a:p>
      </dsp:txBody>
      <dsp:txXfrm>
        <a:off x="357075" y="2116486"/>
        <a:ext cx="1053746" cy="465933"/>
      </dsp:txXfrm>
    </dsp:sp>
    <dsp:sp modelId="{B6F267B7-3D78-4C47-B3A7-AEE5D8544A44}">
      <dsp:nvSpPr>
        <dsp:cNvPr id="0" name=""/>
        <dsp:cNvSpPr/>
      </dsp:nvSpPr>
      <dsp: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1734786-BE6F-44C6-B040-1163066D9A2A}">
      <dsp:nvSpPr>
        <dsp:cNvPr id="0" name=""/>
        <dsp:cNvSpPr/>
      </dsp:nvSpPr>
      <dsp:spPr>
        <a:xfrm>
          <a:off x="1807125"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sp:txBody>
      <dsp:txXfrm>
        <a:off x="1821621" y="2116486"/>
        <a:ext cx="1053746" cy="465933"/>
      </dsp:txXfrm>
    </dsp:sp>
    <dsp:sp modelId="{594BB65E-24C2-410A-A0AA-35E209AABE08}">
      <dsp:nvSpPr>
        <dsp:cNvPr id="0" name=""/>
        <dsp:cNvSpPr/>
      </dsp:nvSpPr>
      <dsp: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0E686278-F9A4-4405-8029-E6730A2FAAD8}">
      <dsp:nvSpPr>
        <dsp:cNvPr id="0" name=""/>
        <dsp:cNvSpPr/>
      </dsp:nvSpPr>
      <dsp:spPr>
        <a:xfrm>
          <a:off x="3271672"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sp:txBody>
      <dsp:txXfrm>
        <a:off x="3286168" y="2116486"/>
        <a:ext cx="1053746" cy="465933"/>
      </dsp:txXfrm>
    </dsp:sp>
    <dsp:sp modelId="{98DC50A4-F3A1-4A3D-9290-7FD6826BDAB4}">
      <dsp:nvSpPr>
        <dsp:cNvPr id="0" name=""/>
        <dsp:cNvSpPr/>
      </dsp:nvSpPr>
      <dsp: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2BAEC37-129F-4F4A-95AB-BA6E3E1AA5F8}">
      <dsp:nvSpPr>
        <dsp:cNvPr id="0" name=""/>
        <dsp:cNvSpPr/>
      </dsp:nvSpPr>
      <dsp:spPr>
        <a:xfrm>
          <a:off x="4736218"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sp:txBody>
      <dsp:txXfrm>
        <a:off x="4750714" y="2116486"/>
        <a:ext cx="1053746" cy="465933"/>
      </dsp:txXfrm>
    </dsp:sp>
    <dsp:sp modelId="{1B7582D0-CAD1-464A-AD59-93C71BE981E8}">
      <dsp:nvSpPr>
        <dsp:cNvPr id="0" name=""/>
        <dsp:cNvSpPr/>
      </dsp:nvSpPr>
      <dsp: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99485BC-37C9-4AAC-A61C-05D0E141368E}">
      <dsp:nvSpPr>
        <dsp:cNvPr id="0" name=""/>
        <dsp:cNvSpPr/>
      </dsp:nvSpPr>
      <dsp:spPr>
        <a:xfrm>
          <a:off x="6200764"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sp:txBody>
      <dsp:txXfrm>
        <a:off x="6215260" y="2116486"/>
        <a:ext cx="1053746" cy="465933"/>
      </dsp:txXfrm>
    </dsp:sp>
    <dsp:sp modelId="{36253102-3F0A-49E8-8650-EEDBAA05AB91}">
      <dsp:nvSpPr>
        <dsp:cNvPr id="0" name=""/>
        <dsp:cNvSpPr/>
      </dsp:nvSpPr>
      <dsp: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B097882A-E2BC-400D-97C7-48AF6A09D6EE}">
      <dsp:nvSpPr>
        <dsp:cNvPr id="0" name=""/>
        <dsp:cNvSpPr/>
      </dsp:nvSpPr>
      <dsp:spPr>
        <a:xfrm>
          <a:off x="7665311"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sp:txBody>
      <dsp:txXfrm>
        <a:off x="7679807" y="2116486"/>
        <a:ext cx="1053746" cy="46593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2930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928688" y="750888"/>
            <a:ext cx="4941887" cy="370840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06460" y="4714811"/>
            <a:ext cx="4984757" cy="446801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10788742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0888"/>
            <a:ext cx="4945063" cy="3708400"/>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4191927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336550"/>
            <a:ext cx="5502275" cy="4127500"/>
          </a:xfrm>
        </p:spPr>
      </p:sp>
      <p:sp>
        <p:nvSpPr>
          <p:cNvPr id="3" name="Notes Placeholder 2"/>
          <p:cNvSpPr>
            <a:spLocks noGrp="1"/>
          </p:cNvSpPr>
          <p:nvPr>
            <p:ph type="body" idx="1"/>
          </p:nvPr>
        </p:nvSpPr>
        <p:spPr/>
        <p:txBody>
          <a:bodyPr/>
          <a:lstStyle/>
          <a:p>
            <a:r>
              <a:rPr lang="en-ZA" dirty="0"/>
              <a:t>Source: ABSA SME Index 2015</a:t>
            </a:r>
            <a:endParaRPr lang="en-GB" dirty="0"/>
          </a:p>
        </p:txBody>
      </p:sp>
      <p:sp>
        <p:nvSpPr>
          <p:cNvPr id="4" name="Slide Number Placeholder 3"/>
          <p:cNvSpPr>
            <a:spLocks noGrp="1"/>
          </p:cNvSpPr>
          <p:nvPr>
            <p:ph type="sldNum" sz="quarter" idx="10"/>
          </p:nvPr>
        </p:nvSpPr>
        <p:spPr>
          <a:xfrm>
            <a:off x="3200400" y="8685213"/>
            <a:ext cx="2971800" cy="457200"/>
          </a:xfrm>
          <a:prstGeom prst="rect">
            <a:avLst/>
          </a:prstGeom>
        </p:spPr>
        <p:txBody>
          <a:bodyPr/>
          <a:lstStyle/>
          <a:p>
            <a:pPr>
              <a:defRPr/>
            </a:pPr>
            <a:fld id="{BA44FAA9-51FA-4F6B-AC6F-9EF5239E7D33}" type="slidenum">
              <a:rPr lang="de-DE" smtClean="0"/>
              <a:pPr>
                <a:defRPr/>
              </a:pPr>
              <a:t>2</a:t>
            </a:fld>
            <a:endParaRPr lang="de-DE" dirty="0"/>
          </a:p>
        </p:txBody>
      </p:sp>
    </p:spTree>
    <p:extLst>
      <p:ext uri="{BB962C8B-B14F-4D97-AF65-F5344CB8AC3E}">
        <p14:creationId xmlns:p14="http://schemas.microsoft.com/office/powerpoint/2010/main" val="60314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Remember</a:t>
            </a:r>
            <a:r>
              <a:rPr lang="en-ZA" baseline="0" dirty="0"/>
              <a:t> to add sources</a:t>
            </a:r>
            <a:endParaRPr lang="en-ZA" dirty="0"/>
          </a:p>
        </p:txBody>
      </p:sp>
    </p:spTree>
    <p:extLst>
      <p:ext uri="{BB962C8B-B14F-4D97-AF65-F5344CB8AC3E}">
        <p14:creationId xmlns:p14="http://schemas.microsoft.com/office/powerpoint/2010/main" val="257248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b="0" i="0" u="none" strike="noStrike" kern="1200" baseline="0" dirty="0">
              <a:solidFill>
                <a:schemeClr val="tx1"/>
              </a:solidFill>
              <a:latin typeface="Arial" charset="0"/>
              <a:ea typeface="+mn-ea"/>
              <a:cs typeface="+mn-cs"/>
            </a:endParaRPr>
          </a:p>
          <a:p>
            <a:r>
              <a:rPr lang="en-ZA" sz="1200" b="0" i="0" u="none" strike="noStrike" kern="1200" baseline="0" dirty="0">
                <a:solidFill>
                  <a:schemeClr val="tx1"/>
                </a:solidFill>
                <a:latin typeface="Arial" charset="0"/>
                <a:ea typeface="+mn-ea"/>
                <a:cs typeface="+mn-cs"/>
              </a:rPr>
              <a:t>1. Objective: a goal, target, or quota to be achieved by a certain time </a:t>
            </a:r>
          </a:p>
          <a:p>
            <a:r>
              <a:rPr lang="en-ZA" sz="1200" b="0" i="0" u="none" strike="noStrike" kern="1200" baseline="0" dirty="0">
                <a:solidFill>
                  <a:schemeClr val="tx1"/>
                </a:solidFill>
                <a:latin typeface="Arial" charset="0"/>
                <a:ea typeface="+mn-ea"/>
                <a:cs typeface="+mn-cs"/>
              </a:rPr>
              <a:t>2. Program: the strategy to be followed and major actions to be taken in order to </a:t>
            </a:r>
          </a:p>
          <a:p>
            <a:r>
              <a:rPr lang="en-ZA" sz="1200" b="0" i="0" u="none" strike="noStrike" kern="1200" baseline="0" dirty="0">
                <a:solidFill>
                  <a:schemeClr val="tx1"/>
                </a:solidFill>
                <a:latin typeface="Arial" charset="0"/>
                <a:ea typeface="+mn-ea"/>
                <a:cs typeface="+mn-cs"/>
              </a:rPr>
              <a:t>3. achieve or exceed objectives </a:t>
            </a:r>
          </a:p>
          <a:p>
            <a:r>
              <a:rPr lang="en-ZA" sz="1200" b="0" i="0" u="none" strike="noStrike" kern="1200" baseline="0" dirty="0">
                <a:solidFill>
                  <a:schemeClr val="tx1"/>
                </a:solidFill>
                <a:latin typeface="Arial" charset="0"/>
                <a:ea typeface="+mn-ea"/>
                <a:cs typeface="+mn-cs"/>
              </a:rPr>
              <a:t>4. Schedule: a plan showing when individual or group activities or accomplishments will be started and/or completed </a:t>
            </a:r>
          </a:p>
          <a:p>
            <a:r>
              <a:rPr lang="en-ZA" sz="1200" b="0" i="0" u="none" strike="noStrike" kern="1200" baseline="0" dirty="0">
                <a:solidFill>
                  <a:schemeClr val="tx1"/>
                </a:solidFill>
                <a:latin typeface="Arial" charset="0"/>
                <a:ea typeface="+mn-ea"/>
                <a:cs typeface="+mn-cs"/>
              </a:rPr>
              <a:t>5. Budget: planned expenditures required to achieve or exceed objectives </a:t>
            </a:r>
          </a:p>
          <a:p>
            <a:r>
              <a:rPr lang="en-ZA" sz="1200" b="0" i="0" u="none" strike="noStrike" kern="1200" baseline="0" dirty="0">
                <a:solidFill>
                  <a:schemeClr val="tx1"/>
                </a:solidFill>
                <a:latin typeface="Arial" charset="0"/>
                <a:ea typeface="+mn-ea"/>
                <a:cs typeface="+mn-cs"/>
              </a:rPr>
              <a:t>6. Forecast: a projection of what will happen by a certain time </a:t>
            </a:r>
          </a:p>
          <a:p>
            <a:r>
              <a:rPr lang="en-ZA" sz="1200" b="0" i="0" u="none" strike="noStrike" kern="1200" baseline="0" dirty="0">
                <a:solidFill>
                  <a:schemeClr val="tx1"/>
                </a:solidFill>
                <a:latin typeface="Arial" charset="0"/>
                <a:ea typeface="+mn-ea"/>
                <a:cs typeface="+mn-cs"/>
              </a:rPr>
              <a:t>7. Organization: design of the number and kinds of positions, along with corresponding duties and responsibilities, required to achieve or exceed objectives </a:t>
            </a:r>
          </a:p>
          <a:p>
            <a:r>
              <a:rPr lang="en-ZA" sz="1200" b="0" i="0" u="none" strike="noStrike" kern="1200" baseline="0" dirty="0">
                <a:solidFill>
                  <a:schemeClr val="tx1"/>
                </a:solidFill>
                <a:latin typeface="Arial" charset="0"/>
                <a:ea typeface="+mn-ea"/>
                <a:cs typeface="+mn-cs"/>
              </a:rPr>
              <a:t>8. Policy: a general guide for decision-making and individual actions </a:t>
            </a:r>
          </a:p>
          <a:p>
            <a:r>
              <a:rPr lang="en-ZA" sz="1200" b="0" i="0" u="none" strike="noStrike" kern="1200" baseline="0" dirty="0">
                <a:solidFill>
                  <a:schemeClr val="tx1"/>
                </a:solidFill>
                <a:latin typeface="Arial" charset="0"/>
                <a:ea typeface="+mn-ea"/>
                <a:cs typeface="+mn-cs"/>
              </a:rPr>
              <a:t>9. Procedure: a detailed method for carrying out a policy </a:t>
            </a:r>
          </a:p>
          <a:p>
            <a:r>
              <a:rPr lang="en-ZA" sz="1200" b="0" i="0" u="none" strike="noStrike" kern="1200" baseline="0" dirty="0">
                <a:solidFill>
                  <a:schemeClr val="tx1"/>
                </a:solidFill>
                <a:latin typeface="Arial" charset="0"/>
                <a:ea typeface="+mn-ea"/>
                <a:cs typeface="+mn-cs"/>
              </a:rPr>
              <a:t>10. Standard: a level of individual or group performance defined as adequate or acceptable. </a:t>
            </a:r>
          </a:p>
          <a:p>
            <a:endParaRPr lang="en-ZA" dirty="0"/>
          </a:p>
        </p:txBody>
      </p:sp>
    </p:spTree>
    <p:extLst>
      <p:ext uri="{BB962C8B-B14F-4D97-AF65-F5344CB8AC3E}">
        <p14:creationId xmlns:p14="http://schemas.microsoft.com/office/powerpoint/2010/main" val="391884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4" descr="Q:\Clients\Accenture\Nancy Hamill - 10-2035 - AMC Sales Effectiveness VI\Working Files\_comping images\iStock_000008898148Large2.jpg"/>
          <p:cNvPicPr>
            <a:picLocks noChangeAspect="1" noChangeArrowheads="1"/>
          </p:cNvPicPr>
          <p:nvPr userDrawn="1"/>
        </p:nvPicPr>
        <p:blipFill>
          <a:blip r:embed="rId2" cstate="print"/>
          <a:srcRect/>
          <a:stretch>
            <a:fillRect/>
          </a:stretch>
        </p:blipFill>
        <p:spPr bwMode="auto">
          <a:xfrm>
            <a:off x="0" y="-1"/>
            <a:ext cx="9145497" cy="5913121"/>
          </a:xfrm>
          <a:prstGeom prst="rect">
            <a:avLst/>
          </a:prstGeom>
          <a:noFill/>
        </p:spPr>
      </p:pic>
      <p:sp>
        <p:nvSpPr>
          <p:cNvPr id="9" name="Rectangle 8"/>
          <p:cNvSpPr/>
          <p:nvPr userDrawn="1"/>
        </p:nvSpPr>
        <p:spPr bwMode="auto">
          <a:xfrm>
            <a:off x="0" y="3466624"/>
            <a:ext cx="9144000" cy="3429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pic>
        <p:nvPicPr>
          <p:cNvPr id="11" name="Picture 112"/>
          <p:cNvPicPr>
            <a:picLocks noChangeAspect="1" noChangeArrowheads="1"/>
          </p:cNvPicPr>
          <p:nvPr userDrawn="1"/>
        </p:nvPicPr>
        <p:blipFill>
          <a:blip r:embed="rId3" cstate="screen"/>
          <a:srcRect/>
          <a:stretch>
            <a:fillRect/>
          </a:stretch>
        </p:blipFill>
        <p:spPr bwMode="gray">
          <a:xfrm>
            <a:off x="304801" y="2500227"/>
            <a:ext cx="2895600" cy="1429153"/>
          </a:xfrm>
          <a:prstGeom prst="rect">
            <a:avLst/>
          </a:prstGeom>
          <a:noFill/>
          <a:ln w="9525">
            <a:noFill/>
            <a:miter lim="800000"/>
            <a:headEnd/>
            <a:tailEnd/>
          </a:ln>
        </p:spPr>
      </p:pic>
      <p:sp>
        <p:nvSpPr>
          <p:cNvPr id="13" name="Rectangle 136"/>
          <p:cNvSpPr>
            <a:spLocks noChangeArrowheads="1"/>
          </p:cNvSpPr>
          <p:nvPr userDrawn="1"/>
        </p:nvSpPr>
        <p:spPr bwMode="auto">
          <a:xfrm>
            <a:off x="401638" y="6526213"/>
            <a:ext cx="8345487" cy="230832"/>
          </a:xfrm>
          <a:prstGeom prst="rect">
            <a:avLst/>
          </a:prstGeom>
          <a:noFill/>
          <a:ln w="9525">
            <a:noFill/>
            <a:miter lim="800000"/>
            <a:headEnd/>
            <a:tailEnd/>
          </a:ln>
          <a:effectLst/>
        </p:spPr>
        <p:txBody>
          <a:bodyPr>
            <a:spAutoFit/>
          </a:bodyPr>
          <a:lstStyle/>
          <a:p>
            <a:pPr>
              <a:lnSpc>
                <a:spcPct val="100000"/>
              </a:lnSpc>
              <a:defRPr/>
            </a:pPr>
            <a:r>
              <a:rPr lang="en-AU" sz="900" b="0" dirty="0">
                <a:solidFill>
                  <a:schemeClr val="bg1"/>
                </a:solidFill>
              </a:rPr>
              <a:t>Copyright © 2015 Accenture.  All Rights Reserved. Accenture, its logo, and High Performance Delivered are trademarks of Accenture.</a:t>
            </a:r>
          </a:p>
        </p:txBody>
      </p:sp>
      <p:sp>
        <p:nvSpPr>
          <p:cNvPr id="14" name="Rectangle 60"/>
          <p:cNvSpPr>
            <a:spLocks noGrp="1" noChangeArrowheads="1"/>
          </p:cNvSpPr>
          <p:nvPr>
            <p:ph type="ctrTitle" sz="quarter"/>
          </p:nvPr>
        </p:nvSpPr>
        <p:spPr>
          <a:xfrm>
            <a:off x="2436813" y="4542473"/>
            <a:ext cx="6216650" cy="1143000"/>
          </a:xfrm>
          <a:prstGeom prst="rect">
            <a:avLst/>
          </a:prstGeom>
          <a:ln w="9525"/>
        </p:spPr>
        <p:txBody>
          <a:bodyPr lIns="91440" tIns="45720" rIns="91440" bIns="45720" anchor="t"/>
          <a:lstStyle>
            <a:lvl1pPr>
              <a:defRPr>
                <a:solidFill>
                  <a:schemeClr val="bg1"/>
                </a:solidFill>
              </a:defRPr>
            </a:lvl1pPr>
          </a:lstStyle>
          <a:p>
            <a:r>
              <a:rPr lang="en-US"/>
              <a:t>Click to edit Master title style</a:t>
            </a:r>
            <a:endParaRPr lang="en-AU" dirty="0"/>
          </a:p>
        </p:txBody>
      </p:sp>
      <p:sp>
        <p:nvSpPr>
          <p:cNvPr id="15" name="Rectangle 61"/>
          <p:cNvSpPr>
            <a:spLocks noGrp="1" noChangeArrowheads="1"/>
          </p:cNvSpPr>
          <p:nvPr>
            <p:ph type="subTitle" sz="quarter" idx="1"/>
          </p:nvPr>
        </p:nvSpPr>
        <p:spPr>
          <a:xfrm>
            <a:off x="2436813" y="5720398"/>
            <a:ext cx="6216650" cy="514350"/>
          </a:xfrm>
          <a:ln w="9525"/>
        </p:spPr>
        <p:txBody>
          <a:bodyPr lIns="91440" tIns="45720" rIns="91440" bIns="45720"/>
          <a:lstStyle>
            <a:lvl1pPr marL="0" indent="0">
              <a:buFontTx/>
              <a:buNone/>
              <a:defRPr sz="2400">
                <a:solidFill>
                  <a:schemeClr val="bg1"/>
                </a:solidFill>
              </a:defRPr>
            </a:lvl1pPr>
          </a:lstStyle>
          <a:p>
            <a:r>
              <a:rPr lang="en-US"/>
              <a:t>Click to edit Master subtitle style</a:t>
            </a:r>
            <a:endParaRPr lang="en-AU"/>
          </a:p>
        </p:txBody>
      </p:sp>
      <p:cxnSp>
        <p:nvCxnSpPr>
          <p:cNvPr id="16" name="Straight Connector 15"/>
          <p:cNvCxnSpPr/>
          <p:nvPr userDrawn="1"/>
        </p:nvCxnSpPr>
        <p:spPr bwMode="auto">
          <a:xfrm>
            <a:off x="0" y="3429000"/>
            <a:ext cx="9144000" cy="0"/>
          </a:xfrm>
          <a:prstGeom prst="line">
            <a:avLst/>
          </a:prstGeom>
          <a:solidFill>
            <a:schemeClr val="accent1"/>
          </a:solidFill>
          <a:ln w="9525" cap="flat" cmpd="sng" algn="ctr">
            <a:solidFill>
              <a:schemeClr val="accent3"/>
            </a:solidFill>
            <a:prstDash val="solid"/>
            <a:round/>
            <a:headEnd type="none" w="med" len="med"/>
            <a:tailEnd type="none" w="med" len="med"/>
          </a:ln>
          <a:effectLst/>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9" name="Slide Number Placeholder 8"/>
          <p:cNvSpPr>
            <a:spLocks noGrp="1"/>
          </p:cNvSpPr>
          <p:nvPr>
            <p:ph type="sldNum" sz="quarter" idx="11"/>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a:t>Click to edit Master title style</a:t>
            </a:r>
            <a:endParaRPr lang="en-AU"/>
          </a:p>
        </p:txBody>
      </p:sp>
      <p:sp>
        <p:nvSpPr>
          <p:cNvPr id="5" name="Content Placeholder 2"/>
          <p:cNvSpPr>
            <a:spLocks noGrp="1"/>
          </p:cNvSpPr>
          <p:nvPr>
            <p:ph idx="1"/>
          </p:nvPr>
        </p:nvSpPr>
        <p:spPr>
          <a:xfrm>
            <a:off x="144463" y="1260475"/>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5"/>
            <a:ext cx="4345200"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Footer Placeholder 8"/>
          <p:cNvSpPr>
            <a:spLocks noGrp="1"/>
          </p:cNvSpPr>
          <p:nvPr>
            <p:ph type="ftr" sz="quarter" idx="13"/>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0" name="Slide Number Placeholder 9"/>
          <p:cNvSpPr>
            <a:spLocks noGrp="1"/>
          </p:cNvSpPr>
          <p:nvPr>
            <p:ph type="sldNum" sz="quarter" idx="14"/>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6941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p:nvPr>
        </p:nvSpPr>
        <p:spPr>
          <a:xfrm>
            <a:off x="144464" y="1748831"/>
            <a:ext cx="8748640" cy="4575769"/>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050" dirty="0">
                <a:solidFill>
                  <a:schemeClr val="tx1"/>
                </a:solidFill>
                <a:latin typeface="+mn-lt"/>
                <a:ea typeface="+mn-ea"/>
                <a:cs typeface="+mn-cs"/>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9" name="Textplatzhalter 2"/>
          <p:cNvSpPr>
            <a:spLocks noGrp="1"/>
          </p:cNvSpPr>
          <p:nvPr>
            <p:ph type="body" idx="13" hasCustomPrompt="1"/>
          </p:nvPr>
        </p:nvSpPr>
        <p:spPr>
          <a:xfrm>
            <a:off x="144463" y="1252887"/>
            <a:ext cx="8748640" cy="386054"/>
          </a:xfrm>
          <a:prstGeom prst="rect">
            <a:avLst/>
          </a:prstGeom>
          <a:noFill/>
        </p:spPr>
        <p:txBody>
          <a:bodyPr wrap="square" lIns="90000" tIns="72000" rIns="90000" bIns="36000">
            <a:spAutoFit/>
          </a:bodyPr>
          <a:lstStyle>
            <a:lvl1pPr marL="0" indent="0">
              <a:buNone/>
              <a:defRPr lang="de-DE" sz="1800" b="1" dirty="0" smtClean="0">
                <a:solidFill>
                  <a:srgbClr val="5A963C"/>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5" name="Titel 4"/>
          <p:cNvSpPr>
            <a:spLocks noGrp="1"/>
          </p:cNvSpPr>
          <p:nvPr>
            <p:ph type="title" hasCustomPrompt="1"/>
          </p:nvPr>
        </p:nvSpPr>
        <p:spPr/>
        <p:txBody>
          <a:bodyPr/>
          <a:lstStyle>
            <a:lvl1pPr>
              <a:defRPr/>
            </a:lvl1pPr>
          </a:lstStyle>
          <a:p>
            <a:r>
              <a:rPr lang="en-US" noProof="0" dirty="0"/>
              <a:t>title</a:t>
            </a:r>
          </a:p>
        </p:txBody>
      </p:sp>
      <p:sp>
        <p:nvSpPr>
          <p:cNvPr id="4" name="Footer Placeholder 3"/>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1" name="Slide Number Placeholder 10"/>
          <p:cNvSpPr>
            <a:spLocks noGrp="1"/>
          </p:cNvSpPr>
          <p:nvPr>
            <p:ph type="sldNum" sz="quarter" idx="15"/>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2549477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bwMode="auto">
          <a:xfrm>
            <a:off x="0" y="0"/>
            <a:ext cx="9144000" cy="6858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sp>
        <p:nvSpPr>
          <p:cNvPr id="10" name="Rectangle 60"/>
          <p:cNvSpPr>
            <a:spLocks noGrp="1" noChangeArrowheads="1"/>
          </p:cNvSpPr>
          <p:nvPr>
            <p:ph type="ctrTitle" sz="quarter" hasCustomPrompt="1"/>
          </p:nvPr>
        </p:nvSpPr>
        <p:spPr>
          <a:xfrm>
            <a:off x="720747" y="1448544"/>
            <a:ext cx="6216650" cy="1143000"/>
          </a:xfrm>
          <a:prstGeom prst="rect">
            <a:avLst/>
          </a:prstGeom>
          <a:ln w="9525"/>
        </p:spPr>
        <p:txBody>
          <a:bodyPr lIns="91440" tIns="45720" rIns="91440" bIns="45720" anchor="t"/>
          <a:lstStyle>
            <a:lvl1pPr>
              <a:defRPr sz="2800">
                <a:solidFill>
                  <a:schemeClr val="bg1"/>
                </a:solidFill>
              </a:defRPr>
            </a:lvl1pPr>
          </a:lstStyle>
          <a:p>
            <a:r>
              <a:rPr lang="en-US" dirty="0"/>
              <a:t>Click to edit title style</a:t>
            </a:r>
            <a:endParaRPr lang="en-AU" dirty="0"/>
          </a:p>
        </p:txBody>
      </p:sp>
      <p:sp>
        <p:nvSpPr>
          <p:cNvPr id="2" name="Footer Placeholder 1"/>
          <p:cNvSpPr>
            <a:spLocks noGrp="1"/>
          </p:cNvSpPr>
          <p:nvPr>
            <p:ph type="ftr" sz="quarter" idx="10"/>
          </p:nvPr>
        </p:nvSpPr>
        <p:spPr/>
        <p:txBody>
          <a:bodyPr/>
          <a:lstStyle>
            <a:lvl1pPr>
              <a:defRPr>
                <a:solidFill>
                  <a:schemeClr val="bg1"/>
                </a:solidFill>
              </a:defRPr>
            </a:lvl1pPr>
          </a:lstStyle>
          <a:p>
            <a:pPr algn="l" eaLnBrk="1" fontAlgn="auto" hangingPunct="1">
              <a:lnSpc>
                <a:spcPct val="100000"/>
              </a:lnSpc>
              <a:spcBef>
                <a:spcPts val="0"/>
              </a:spcBef>
              <a:spcAft>
                <a:spcPts val="0"/>
              </a:spcAft>
              <a:defRPr/>
            </a:pPr>
            <a:r>
              <a:rPr lang="en-ZA"/>
              <a:t>Copyright © 2016 Accenture.  All Rights Reserved. Accenture Confidential Information</a:t>
            </a:r>
            <a:endParaRPr lang="en-ZA"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A1939E73-A648-45AF-A753-F4C0848EA4EB}" type="slidenum">
              <a:rPr lang="en-ZA" smtClean="0"/>
              <a:pPr/>
              <a:t>‹#›</a:t>
            </a:fld>
            <a:endParaRPr lang="en-ZA"/>
          </a:p>
        </p:txBody>
      </p:sp>
    </p:spTree>
    <p:extLst>
      <p:ext uri="{BB962C8B-B14F-4D97-AF65-F5344CB8AC3E}">
        <p14:creationId xmlns:p14="http://schemas.microsoft.com/office/powerpoint/2010/main" val="3394816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3" name="Slide Number Placeholder 2"/>
          <p:cNvSpPr>
            <a:spLocks noGrp="1"/>
          </p:cNvSpPr>
          <p:nvPr>
            <p:ph type="sldNum" sz="quarter" idx="11"/>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3453472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122467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7" name="Rectangle 29"/>
          <p:cNvSpPr>
            <a:spLocks noGrp="1" noChangeArrowheads="1"/>
          </p:cNvSpPr>
          <p:nvPr>
            <p:ph type="body" idx="1"/>
          </p:nvPr>
        </p:nvSpPr>
        <p:spPr bwMode="gray">
          <a:xfrm>
            <a:off x="144463" y="1260475"/>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7" name="Straight Connector 6"/>
          <p:cNvCxnSpPr/>
          <p:nvPr/>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cxnSp>
        <p:nvCxnSpPr>
          <p:cNvPr id="8" name="Straight Connector 7"/>
          <p:cNvCxnSpPr/>
          <p:nvPr userDrawn="1"/>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
        <p:nvSpPr>
          <p:cNvPr id="9" name="AC Banner"/>
          <p:cNvSpPr>
            <a:spLocks noChangeArrowheads="1"/>
          </p:cNvSpPr>
          <p:nvPr userDrawn="1"/>
        </p:nvSpPr>
        <p:spPr bwMode="gray">
          <a:xfrm>
            <a:off x="0" y="0"/>
            <a:ext cx="9144000" cy="1144588"/>
          </a:xfrm>
          <a:prstGeom prst="rect">
            <a:avLst/>
          </a:prstGeom>
          <a:solidFill>
            <a:srgbClr val="66AA44"/>
          </a:solidFill>
          <a:ln w="12700">
            <a:noFill/>
            <a:miter lim="800000"/>
            <a:headEnd/>
            <a:tailEnd/>
          </a:ln>
          <a:effectLst/>
        </p:spPr>
        <p:txBody>
          <a:bodyPr wrap="none" anchor="ctr"/>
          <a:lstStyle/>
          <a:p>
            <a:pPr algn="ctr">
              <a:defRPr/>
            </a:pPr>
            <a:endParaRPr lang="en-US" dirty="0"/>
          </a:p>
        </p:txBody>
      </p:sp>
      <p:sp>
        <p:nvSpPr>
          <p:cNvPr id="10" name="Rectangle 65"/>
          <p:cNvSpPr>
            <a:spLocks noGrp="1" noChangeArrowheads="1"/>
          </p:cNvSpPr>
          <p:nvPr>
            <p:ph type="title"/>
          </p:nvPr>
        </p:nvSpPr>
        <p:spPr bwMode="gray">
          <a:xfrm>
            <a:off x="144463" y="0"/>
            <a:ext cx="7912417"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dirty="0"/>
              <a:t>Click to edit Master title style</a:t>
            </a:r>
            <a:endParaRPr lang="en-AU" dirty="0"/>
          </a:p>
        </p:txBody>
      </p:sp>
      <p:sp>
        <p:nvSpPr>
          <p:cNvPr id="3" name="Footer Placeholder 2"/>
          <p:cNvSpPr>
            <a:spLocks noGrp="1"/>
          </p:cNvSpPr>
          <p:nvPr>
            <p:ph type="ftr" sz="quarter" idx="3"/>
          </p:nvPr>
        </p:nvSpPr>
        <p:spPr>
          <a:xfrm>
            <a:off x="276293" y="6514455"/>
            <a:ext cx="5467215" cy="226714"/>
          </a:xfrm>
          <a:prstGeom prst="rect">
            <a:avLst/>
          </a:prstGeom>
        </p:spPr>
        <p:txBody>
          <a:bodyPr vert="horz" lIns="91440" tIns="45720" rIns="91440" bIns="45720" rtlCol="0" anchor="ctr"/>
          <a:lstStyle>
            <a:lvl1pPr algn="ctr">
              <a:defRPr kumimoji="0" lang="en-ZA" sz="800" b="0" i="0" u="none" strike="noStrike" kern="1200" cap="none" spc="0" normalizeH="0" baseline="0" noProof="0" smtClean="0">
                <a:ln>
                  <a:noFill/>
                </a:ln>
                <a:solidFill>
                  <a:prstClr val="black"/>
                </a:solidFill>
                <a:effectLst/>
                <a:uLnTx/>
                <a:uFillTx/>
                <a:cs typeface="Arial" pitchFamily="34" charset="0"/>
              </a:defRPr>
            </a:lvl1p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4" name="Slide Number Placeholder 3"/>
          <p:cNvSpPr>
            <a:spLocks noGrp="1"/>
          </p:cNvSpPr>
          <p:nvPr>
            <p:ph type="sldNum" sz="quarter" idx="4"/>
          </p:nvPr>
        </p:nvSpPr>
        <p:spPr>
          <a:xfrm>
            <a:off x="8331201" y="6514455"/>
            <a:ext cx="512762" cy="226714"/>
          </a:xfrm>
          <a:prstGeom prst="rect">
            <a:avLst/>
          </a:prstGeom>
        </p:spPr>
        <p:txBody>
          <a:bodyPr vert="horz" lIns="91440" tIns="45720" rIns="91440" bIns="45720" rtlCol="0" anchor="ctr"/>
          <a:lstStyle>
            <a:lvl1pPr algn="r">
              <a:defRPr sz="800">
                <a:solidFill>
                  <a:schemeClr val="tx1"/>
                </a:solidFill>
              </a:defRPr>
            </a:lvl1pPr>
          </a:lstStyle>
          <a:p>
            <a:fld id="{A1939E73-A648-45AF-A753-F4C0848EA4E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3" r:id="rId3"/>
    <p:sldLayoutId id="2147483671" r:id="rId4"/>
    <p:sldLayoutId id="2147483673" r:id="rId5"/>
    <p:sldLayoutId id="2147483674" r:id="rId6"/>
  </p:sldLayoutIdLst>
  <p:hf hdr="0" dt="0"/>
  <p:txStyles>
    <p:titleStyle>
      <a:lvl1pPr algn="l" rtl="0" eaLnBrk="1" fontAlgn="base" hangingPunct="1">
        <a:spcBef>
          <a:spcPct val="0"/>
        </a:spcBef>
        <a:spcAft>
          <a:spcPct val="0"/>
        </a:spcAft>
        <a:defRPr sz="2400" b="1">
          <a:solidFill>
            <a:schemeClr val="bg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465" y="0"/>
            <a:ext cx="7998051" cy="1143000"/>
          </a:xfrm>
        </p:spPr>
        <p:txBody>
          <a:bodyPr>
            <a:noAutofit/>
          </a:bodyPr>
          <a:lstStyle/>
          <a:p>
            <a:r>
              <a:rPr lang="en-US" sz="2400" dirty="0"/>
              <a:t>What is a project</a:t>
            </a:r>
          </a:p>
        </p:txBody>
      </p:sp>
      <p:sp>
        <p:nvSpPr>
          <p:cNvPr id="3" name="Slide Number Placeholder 2"/>
          <p:cNvSpPr>
            <a:spLocks noGrp="1"/>
          </p:cNvSpPr>
          <p:nvPr>
            <p:ph type="sldNum" sz="quarter" idx="4294967295"/>
          </p:nvPr>
        </p:nvSpPr>
        <p:spPr>
          <a:xfrm>
            <a:off x="7269164" y="6503990"/>
            <a:ext cx="1693862" cy="269875"/>
          </a:xfrm>
          <a:prstGeom prst="rect">
            <a:avLst/>
          </a:prstGeom>
        </p:spPr>
        <p:txBody>
          <a:bodyPr/>
          <a:lstStyle/>
          <a:p>
            <a:pPr>
              <a:defRPr/>
            </a:pPr>
            <a:fld id="{7747B3AA-F3BE-48E7-967F-47A750E1EAF6}" type="slidenum">
              <a:rPr lang="en-AU" smtClean="0"/>
              <a:pPr>
                <a:defRPr/>
              </a:pPr>
              <a:t>1</a:t>
            </a:fld>
            <a:endParaRPr lang="en-AU" dirty="0"/>
          </a:p>
        </p:txBody>
      </p:sp>
      <p:sp>
        <p:nvSpPr>
          <p:cNvPr id="5" name="Rectangle 3"/>
          <p:cNvSpPr>
            <a:spLocks noGrp="1" noChangeArrowheads="1"/>
          </p:cNvSpPr>
          <p:nvPr>
            <p:ph type="body" idx="13"/>
          </p:nvPr>
        </p:nvSpPr>
        <p:spPr>
          <a:xfrm>
            <a:off x="250825" y="1331913"/>
            <a:ext cx="8642350" cy="5273610"/>
          </a:xfrm>
        </p:spPr>
        <p:txBody>
          <a:bodyPr/>
          <a:lstStyle/>
          <a:p>
            <a:pPr marL="478908" lvl="1">
              <a:lnSpc>
                <a:spcPct val="200000"/>
              </a:lnSpc>
              <a:spcBef>
                <a:spcPts val="0"/>
              </a:spcBef>
              <a:spcAft>
                <a:spcPts val="898"/>
              </a:spcAft>
              <a:defRPr/>
            </a:pPr>
            <a:r>
              <a:rPr lang="en-GB" altLang="en-US" sz="1900" b="0" kern="1200" dirty="0">
                <a:ea typeface="+mn-ea"/>
                <a:cs typeface="+mn-cs"/>
              </a:rPr>
              <a:t>Unique a set of coordinated and controlled activities with clearly defined start and finish dates, undertaken to achieve an objective conforming to specific requirements</a:t>
            </a:r>
          </a:p>
          <a:p>
            <a:pPr marL="957816" lvl="1" indent="-478908">
              <a:lnSpc>
                <a:spcPct val="200000"/>
              </a:lnSpc>
              <a:spcBef>
                <a:spcPts val="0"/>
              </a:spcBef>
              <a:spcAft>
                <a:spcPts val="898"/>
              </a:spcAft>
              <a:buFont typeface="+mj-lt"/>
              <a:buAutoNum type="alphaLcPeriod"/>
              <a:defRPr/>
            </a:pPr>
            <a:endParaRPr lang="en-GB" altLang="en-US" sz="1900" b="0" kern="1200" dirty="0">
              <a:ea typeface="+mn-ea"/>
              <a:cs typeface="+mn-cs"/>
            </a:endParaRP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a planned set of activities</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a scope</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time, cost, quality and resource constraints </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temporary </a:t>
            </a:r>
          </a:p>
        </p:txBody>
      </p:sp>
    </p:spTree>
    <p:extLst>
      <p:ext uri="{BB962C8B-B14F-4D97-AF65-F5344CB8AC3E}">
        <p14:creationId xmlns:p14="http://schemas.microsoft.com/office/powerpoint/2010/main" val="3964128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0</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The statement of work (SOW) is a narrative description of the work to be accomplished. It includes the objectives of the project, a brief description of the work, the funding constraint if one exists, and the specifications and schedule. It includes such things as the: </a:t>
            </a:r>
          </a:p>
          <a:p>
            <a:r>
              <a:rPr lang="en-ZA" sz="1400" b="0" dirty="0"/>
              <a:t>● Start date </a:t>
            </a:r>
          </a:p>
          <a:p>
            <a:r>
              <a:rPr lang="en-ZA" sz="1400" b="0" dirty="0"/>
              <a:t>● End date </a:t>
            </a:r>
          </a:p>
          <a:p>
            <a:r>
              <a:rPr lang="en-ZA" sz="1400" b="0" dirty="0"/>
              <a:t>● Major milestones </a:t>
            </a:r>
          </a:p>
          <a:p>
            <a:r>
              <a:rPr lang="en-ZA" sz="1400" b="0" dirty="0"/>
              <a:t>● Written reports (data items) </a:t>
            </a:r>
          </a:p>
          <a:p>
            <a:endParaRPr lang="en-ZA" sz="1400" b="0" dirty="0"/>
          </a:p>
          <a:p>
            <a:r>
              <a:rPr lang="en-ZA" sz="1400" b="0" dirty="0"/>
              <a:t>There are four elements of scope: </a:t>
            </a:r>
          </a:p>
          <a:p>
            <a:r>
              <a:rPr lang="en-ZA" sz="1400" b="0" dirty="0"/>
              <a:t> </a:t>
            </a:r>
            <a:r>
              <a:rPr lang="en-ZA" sz="1400" dirty="0"/>
              <a:t>Scope: </a:t>
            </a:r>
            <a:r>
              <a:rPr lang="en-ZA" sz="1400" b="0" dirty="0"/>
              <a:t>This is the summary of all the deliverables required for the project, such as products, services and results. </a:t>
            </a:r>
          </a:p>
          <a:p>
            <a:r>
              <a:rPr lang="en-ZA" sz="1400" b="0" dirty="0"/>
              <a:t> </a:t>
            </a:r>
            <a:r>
              <a:rPr lang="en-ZA" sz="1400" dirty="0"/>
              <a:t>Project Scope: </a:t>
            </a:r>
            <a:r>
              <a:rPr lang="en-ZA" sz="1400" b="0" dirty="0"/>
              <a:t>This entails work that must be completed in order to achieve the final scope of the project such as products, services and end results. </a:t>
            </a:r>
          </a:p>
          <a:p>
            <a:r>
              <a:rPr lang="en-ZA" sz="1400" b="0" dirty="0"/>
              <a:t> </a:t>
            </a:r>
            <a:r>
              <a:rPr lang="en-ZA" sz="1400" dirty="0"/>
              <a:t>Scope Statement:</a:t>
            </a:r>
            <a:r>
              <a:rPr lang="en-ZA" sz="1400" b="0" dirty="0"/>
              <a:t> The purpose of the document is to ensure that all stakeholders have common knowledge of the project scope. The scope statement contains the objectives, description of deliverables, end results and justification of the project. </a:t>
            </a:r>
          </a:p>
          <a:p>
            <a:r>
              <a:rPr lang="en-ZA" sz="1400" b="0" dirty="0"/>
              <a:t> </a:t>
            </a:r>
            <a:r>
              <a:rPr lang="en-ZA" sz="1400" dirty="0"/>
              <a:t>Statement of work: </a:t>
            </a:r>
            <a:r>
              <a:rPr lang="en-ZA" sz="1400" b="0" dirty="0"/>
              <a:t>This is a description that narrate the end results to be provided under the contract. </a:t>
            </a:r>
            <a:endParaRPr lang="en-ZA" sz="1400" dirty="0"/>
          </a:p>
        </p:txBody>
      </p:sp>
      <p:cxnSp>
        <p:nvCxnSpPr>
          <p:cNvPr id="17" name="Elbow Connector 16"/>
          <p:cNvCxnSpPr/>
          <p:nvPr/>
        </p:nvCxnSpPr>
        <p:spPr bwMode="auto">
          <a:xfrm>
            <a:off x="3009900" y="2175869"/>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2555490"/>
            <a:ext cx="2552369" cy="2202512"/>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96297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1</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Specifications are used for man-hour, equipment, and material estimates. Another reason for identifying the specifications is to make sure that there are no surprises for the customer downstream.</a:t>
            </a:r>
          </a:p>
          <a:p>
            <a:r>
              <a:rPr lang="en-ZA" sz="1400" b="0" dirty="0"/>
              <a:t>Specifications are, in fact, standards for pricing out a proposal. If specifications do not exist or are not necessary, then work standards should be included in the proposal. </a:t>
            </a:r>
          </a:p>
          <a:p>
            <a:endParaRPr lang="en-ZA" sz="1400" b="0" dirty="0"/>
          </a:p>
          <a:p>
            <a:r>
              <a:rPr lang="en-ZA" sz="1400" b="0" dirty="0" err="1"/>
              <a:t>Eg</a:t>
            </a:r>
            <a:r>
              <a:rPr lang="en-ZA" sz="1400" b="0" dirty="0"/>
              <a:t>. </a:t>
            </a:r>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dirty="0"/>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095669"/>
            <a:ext cx="2552369" cy="1341160"/>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595745"/>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4204100233"/>
              </p:ext>
            </p:extLst>
          </p:nvPr>
        </p:nvGraphicFramePr>
        <p:xfrm>
          <a:off x="4532243" y="3586101"/>
          <a:ext cx="3798958" cy="2133600"/>
        </p:xfrm>
        <a:graphic>
          <a:graphicData uri="http://schemas.openxmlformats.org/drawingml/2006/table">
            <a:tbl>
              <a:tblPr firstRow="1" bandRow="1">
                <a:tableStyleId>{5C22544A-7EE6-4342-B048-85BDC9FD1C3A}</a:tableStyleId>
              </a:tblPr>
              <a:tblGrid>
                <a:gridCol w="1899479">
                  <a:extLst>
                    <a:ext uri="{9D8B030D-6E8A-4147-A177-3AD203B41FA5}">
                      <a16:colId xmlns:a16="http://schemas.microsoft.com/office/drawing/2014/main" val="3660450212"/>
                    </a:ext>
                  </a:extLst>
                </a:gridCol>
                <a:gridCol w="1899479">
                  <a:extLst>
                    <a:ext uri="{9D8B030D-6E8A-4147-A177-3AD203B41FA5}">
                      <a16:colId xmlns:a16="http://schemas.microsoft.com/office/drawing/2014/main" val="642390711"/>
                    </a:ext>
                  </a:extLst>
                </a:gridCol>
              </a:tblGrid>
              <a:tr h="254368">
                <a:tc>
                  <a:txBody>
                    <a:bodyPr/>
                    <a:lstStyle/>
                    <a:p>
                      <a:r>
                        <a:rPr lang="en-ZA" sz="1400" dirty="0"/>
                        <a:t>Description</a:t>
                      </a:r>
                    </a:p>
                  </a:txBody>
                  <a:tcPr/>
                </a:tc>
                <a:tc>
                  <a:txBody>
                    <a:bodyPr/>
                    <a:lstStyle/>
                    <a:p>
                      <a:r>
                        <a:rPr lang="en-ZA" sz="1400" dirty="0"/>
                        <a:t>Specification</a:t>
                      </a:r>
                      <a:r>
                        <a:rPr lang="en-ZA" sz="1400" baseline="0" dirty="0"/>
                        <a:t> No</a:t>
                      </a:r>
                      <a:endParaRPr lang="en-ZA" sz="1400" dirty="0"/>
                    </a:p>
                  </a:txBody>
                  <a:tcPr/>
                </a:tc>
                <a:extLst>
                  <a:ext uri="{0D108BD9-81ED-4DB2-BD59-A6C34878D82A}">
                    <a16:rowId xmlns:a16="http://schemas.microsoft.com/office/drawing/2014/main" val="2851371807"/>
                  </a:ext>
                </a:extLst>
              </a:tr>
              <a:tr h="254368">
                <a:tc>
                  <a:txBody>
                    <a:bodyPr/>
                    <a:lstStyle/>
                    <a:p>
                      <a:r>
                        <a:rPr lang="en-ZA" sz="1400" dirty="0"/>
                        <a:t>Civil Engineering</a:t>
                      </a:r>
                    </a:p>
                  </a:txBody>
                  <a:tcPr/>
                </a:tc>
                <a:tc>
                  <a:txBody>
                    <a:bodyPr/>
                    <a:lstStyle/>
                    <a:p>
                      <a:r>
                        <a:rPr lang="en-ZA" sz="1400" dirty="0"/>
                        <a:t>100</a:t>
                      </a:r>
                    </a:p>
                  </a:txBody>
                  <a:tcPr/>
                </a:tc>
                <a:extLst>
                  <a:ext uri="{0D108BD9-81ED-4DB2-BD59-A6C34878D82A}">
                    <a16:rowId xmlns:a16="http://schemas.microsoft.com/office/drawing/2014/main" val="3602294090"/>
                  </a:ext>
                </a:extLst>
              </a:tr>
              <a:tr h="254368">
                <a:tc>
                  <a:txBody>
                    <a:bodyPr/>
                    <a:lstStyle/>
                    <a:p>
                      <a:r>
                        <a:rPr lang="en-ZA" sz="1400" dirty="0"/>
                        <a:t>Concrete</a:t>
                      </a:r>
                    </a:p>
                  </a:txBody>
                  <a:tcPr/>
                </a:tc>
                <a:tc>
                  <a:txBody>
                    <a:bodyPr/>
                    <a:lstStyle/>
                    <a:p>
                      <a:r>
                        <a:rPr lang="en-ZA" sz="1400" dirty="0"/>
                        <a:t>101</a:t>
                      </a:r>
                    </a:p>
                  </a:txBody>
                  <a:tcPr/>
                </a:tc>
                <a:extLst>
                  <a:ext uri="{0D108BD9-81ED-4DB2-BD59-A6C34878D82A}">
                    <a16:rowId xmlns:a16="http://schemas.microsoft.com/office/drawing/2014/main" val="441718050"/>
                  </a:ext>
                </a:extLst>
              </a:tr>
              <a:tr h="254368">
                <a:tc>
                  <a:txBody>
                    <a:bodyPr/>
                    <a:lstStyle/>
                    <a:p>
                      <a:r>
                        <a:rPr lang="en-ZA" sz="1400" dirty="0"/>
                        <a:t>Electrical</a:t>
                      </a:r>
                    </a:p>
                  </a:txBody>
                  <a:tcPr/>
                </a:tc>
                <a:tc>
                  <a:txBody>
                    <a:bodyPr/>
                    <a:lstStyle/>
                    <a:p>
                      <a:r>
                        <a:rPr lang="en-ZA" sz="1400" dirty="0"/>
                        <a:t>102</a:t>
                      </a:r>
                    </a:p>
                  </a:txBody>
                  <a:tcPr/>
                </a:tc>
                <a:extLst>
                  <a:ext uri="{0D108BD9-81ED-4DB2-BD59-A6C34878D82A}">
                    <a16:rowId xmlns:a16="http://schemas.microsoft.com/office/drawing/2014/main" val="1756061930"/>
                  </a:ext>
                </a:extLst>
              </a:tr>
              <a:tr h="254368">
                <a:tc>
                  <a:txBody>
                    <a:bodyPr/>
                    <a:lstStyle/>
                    <a:p>
                      <a:r>
                        <a:rPr lang="en-ZA" sz="1400" dirty="0"/>
                        <a:t>Roofing</a:t>
                      </a:r>
                    </a:p>
                  </a:txBody>
                  <a:tcPr/>
                </a:tc>
                <a:tc>
                  <a:txBody>
                    <a:bodyPr/>
                    <a:lstStyle/>
                    <a:p>
                      <a:r>
                        <a:rPr lang="en-ZA" sz="1400" dirty="0"/>
                        <a:t>103</a:t>
                      </a:r>
                    </a:p>
                  </a:txBody>
                  <a:tcPr/>
                </a:tc>
                <a:extLst>
                  <a:ext uri="{0D108BD9-81ED-4DB2-BD59-A6C34878D82A}">
                    <a16:rowId xmlns:a16="http://schemas.microsoft.com/office/drawing/2014/main" val="3698655368"/>
                  </a:ext>
                </a:extLst>
              </a:tr>
              <a:tr h="254368">
                <a:tc>
                  <a:txBody>
                    <a:bodyPr/>
                    <a:lstStyle/>
                    <a:p>
                      <a:r>
                        <a:rPr lang="en-ZA" sz="1400" dirty="0"/>
                        <a:t>Structural</a:t>
                      </a:r>
                    </a:p>
                  </a:txBody>
                  <a:tcPr/>
                </a:tc>
                <a:tc>
                  <a:txBody>
                    <a:bodyPr/>
                    <a:lstStyle/>
                    <a:p>
                      <a:r>
                        <a:rPr lang="en-ZA" sz="1400" dirty="0"/>
                        <a:t>104</a:t>
                      </a:r>
                    </a:p>
                  </a:txBody>
                  <a:tcPr/>
                </a:tc>
                <a:extLst>
                  <a:ext uri="{0D108BD9-81ED-4DB2-BD59-A6C34878D82A}">
                    <a16:rowId xmlns:a16="http://schemas.microsoft.com/office/drawing/2014/main" val="2948340202"/>
                  </a:ext>
                </a:extLst>
              </a:tr>
              <a:tr h="254368">
                <a:tc>
                  <a:txBody>
                    <a:bodyPr/>
                    <a:lstStyle/>
                    <a:p>
                      <a:r>
                        <a:rPr lang="en-ZA" sz="1400" dirty="0"/>
                        <a:t>Piling</a:t>
                      </a:r>
                    </a:p>
                  </a:txBody>
                  <a:tcPr/>
                </a:tc>
                <a:tc>
                  <a:txBody>
                    <a:bodyPr/>
                    <a:lstStyle/>
                    <a:p>
                      <a:r>
                        <a:rPr lang="en-ZA" sz="1400" dirty="0"/>
                        <a:t>105</a:t>
                      </a:r>
                    </a:p>
                  </a:txBody>
                  <a:tcPr/>
                </a:tc>
                <a:extLst>
                  <a:ext uri="{0D108BD9-81ED-4DB2-BD59-A6C34878D82A}">
                    <a16:rowId xmlns:a16="http://schemas.microsoft.com/office/drawing/2014/main" val="2491693241"/>
                  </a:ext>
                </a:extLst>
              </a:tr>
            </a:tbl>
          </a:graphicData>
        </a:graphic>
      </p:graphicFrame>
    </p:spTree>
    <p:extLst>
      <p:ext uri="{BB962C8B-B14F-4D97-AF65-F5344CB8AC3E}">
        <p14:creationId xmlns:p14="http://schemas.microsoft.com/office/powerpoint/2010/main" val="223819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2</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850011"/>
          </a:xfrm>
          <a:prstGeom prst="rect">
            <a:avLst/>
          </a:prstGeom>
          <a:noFill/>
          <a:ln>
            <a:solidFill>
              <a:srgbClr val="5A963C"/>
            </a:solidFill>
          </a:ln>
        </p:spPr>
        <p:txBody>
          <a:bodyPr wrap="square" rtlCol="0">
            <a:spAutoFit/>
          </a:bodyPr>
          <a:lstStyle/>
          <a:p>
            <a:r>
              <a:rPr lang="en-ZA" sz="1400" b="0" dirty="0"/>
              <a:t>All project milestone schedules must contain information such as: </a:t>
            </a:r>
          </a:p>
          <a:p>
            <a:r>
              <a:rPr lang="en-ZA" sz="1400" b="0" dirty="0"/>
              <a:t> Project Start Date </a:t>
            </a:r>
          </a:p>
          <a:p>
            <a:r>
              <a:rPr lang="en-ZA" sz="1400" b="0" dirty="0"/>
              <a:t> Project End Date </a:t>
            </a:r>
          </a:p>
          <a:p>
            <a:r>
              <a:rPr lang="en-ZA" sz="1400" b="0" dirty="0"/>
              <a:t> Data items (deliverables or reports) </a:t>
            </a:r>
          </a:p>
          <a:p>
            <a:endParaRPr lang="en-ZA" sz="1400" b="0" dirty="0"/>
          </a:p>
          <a:p>
            <a:r>
              <a:rPr lang="en-ZA" sz="1400" b="0" dirty="0"/>
              <a:t>Project start and end dates, if known, must be included. Other major milestones, such as review meetings, prototype available, procurement, testing, and so on, should also be identified. Data items, are often overlooked. There are two good reasons for preparing a separate schedule for data items. First, the separate schedule will indicate to line managers that personnel with writing skills may have to be assigned. Second, data items require direct-</a:t>
            </a:r>
            <a:r>
              <a:rPr lang="en-ZA" sz="1400" b="0" dirty="0" err="1"/>
              <a:t>labor</a:t>
            </a:r>
            <a:r>
              <a:rPr lang="en-ZA" sz="1400" b="0" dirty="0"/>
              <a:t> man-hours for writing, typing, editing, retyping, proofing, graphic arts, and reproduction.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679951"/>
            <a:ext cx="2552369" cy="756877"/>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110523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30878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3</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677656"/>
          </a:xfrm>
          <a:prstGeom prst="rect">
            <a:avLst/>
          </a:prstGeom>
          <a:noFill/>
          <a:ln>
            <a:solidFill>
              <a:srgbClr val="5A963C"/>
            </a:solidFill>
          </a:ln>
        </p:spPr>
        <p:txBody>
          <a:bodyPr wrap="square" rtlCol="0">
            <a:spAutoFit/>
          </a:bodyPr>
          <a:lstStyle/>
          <a:p>
            <a:r>
              <a:rPr lang="en-ZA" sz="1400" b="0" dirty="0"/>
              <a:t>The WBS is the single most important element because it provides a common framework from which: </a:t>
            </a:r>
          </a:p>
          <a:p>
            <a:r>
              <a:rPr lang="en-ZA" sz="1400" b="0" dirty="0"/>
              <a:t>● The total program can be described as a summation of subdivided elements. </a:t>
            </a:r>
          </a:p>
          <a:p>
            <a:r>
              <a:rPr lang="en-ZA" sz="1400" b="0" dirty="0"/>
              <a:t>● Planning can be performed. </a:t>
            </a:r>
          </a:p>
          <a:p>
            <a:r>
              <a:rPr lang="en-ZA" sz="1400" b="0" dirty="0"/>
              <a:t>● Costs and budgets can be established. </a:t>
            </a:r>
          </a:p>
          <a:p>
            <a:r>
              <a:rPr lang="en-ZA" sz="1400" b="0" dirty="0"/>
              <a:t>● Time, cost, and performance can be tracked. </a:t>
            </a:r>
          </a:p>
          <a:p>
            <a:r>
              <a:rPr lang="en-ZA" sz="1400" b="0" dirty="0"/>
              <a:t>● Objectives can be linked to company resources in a logical manner. </a:t>
            </a:r>
          </a:p>
          <a:p>
            <a:r>
              <a:rPr lang="en-ZA" sz="1400" b="0" dirty="0"/>
              <a:t>● Schedules and status-reporting procedures can be established. </a:t>
            </a:r>
          </a:p>
          <a:p>
            <a:r>
              <a:rPr lang="en-ZA" sz="1400" b="0" dirty="0"/>
              <a:t>● Network construction and control planning can be initiated. </a:t>
            </a:r>
          </a:p>
          <a:p>
            <a:r>
              <a:rPr lang="en-ZA" sz="1400" b="0" dirty="0"/>
              <a:t>● The responsibility assignments for each element can be established.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4" name="Rectangle 13"/>
          <p:cNvSpPr/>
          <p:nvPr/>
        </p:nvSpPr>
        <p:spPr bwMode="auto">
          <a:xfrm>
            <a:off x="389613" y="1908313"/>
            <a:ext cx="2552369" cy="161108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64773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p:cNvSpPr txBox="1">
            <a:spLocks noChangeArrowheads="1"/>
          </p:cNvSpPr>
          <p:nvPr/>
        </p:nvSpPr>
        <p:spPr bwMode="auto">
          <a:xfrm>
            <a:off x="345620" y="2008702"/>
            <a:ext cx="7997101" cy="348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2" tIns="47891" rIns="95782" bIns="47891">
            <a:spAutoFit/>
          </a:bodyPr>
          <a:lstStyle>
            <a:lvl1pPr marL="342900" indent="-342900" eaLnBrk="0" hangingPunct="0">
              <a:defRPr sz="3200" b="1">
                <a:solidFill>
                  <a:schemeClr val="tx1"/>
                </a:solidFill>
                <a:latin typeface="Arial" charset="0"/>
                <a:cs typeface="Arial" charset="0"/>
              </a:defRPr>
            </a:lvl1pPr>
            <a:lvl2pPr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Implementation of new IT system</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Launch of  a new product line</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cking of ongoing maintenance at a power plan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Rebranding an established produc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in employees on new system</a:t>
            </a:r>
          </a:p>
        </p:txBody>
      </p:sp>
      <p:sp>
        <p:nvSpPr>
          <p:cNvPr id="9" name="Oval 8"/>
          <p:cNvSpPr>
            <a:spLocks noChangeArrowheads="1"/>
          </p:cNvSpPr>
          <p:nvPr/>
        </p:nvSpPr>
        <p:spPr bwMode="auto">
          <a:xfrm>
            <a:off x="1149729" y="3469064"/>
            <a:ext cx="6193749" cy="661625"/>
          </a:xfrm>
          <a:prstGeom prst="ellipse">
            <a:avLst/>
          </a:prstGeom>
          <a:noFill/>
          <a:ln w="28575" algn="ctr">
            <a:solidFill>
              <a:srgbClr val="66AA44"/>
            </a:solidFill>
            <a:round/>
            <a:headEnd/>
            <a:tailEnd/>
          </a:ln>
          <a:extLst>
            <a:ext uri="{909E8E84-426E-40DD-AFC4-6F175D3DCCD1}">
              <a14:hiddenFill xmlns:a14="http://schemas.microsoft.com/office/drawing/2010/main">
                <a:solidFill>
                  <a:srgbClr val="FFFFFF"/>
                </a:solidFill>
              </a14:hiddenFill>
            </a:ext>
          </a:extLst>
        </p:spPr>
        <p:txBody>
          <a:bodyPr lIns="95782" tIns="47891" rIns="95782" bIns="47891"/>
          <a:lstStyle>
            <a:lvl1pPr eaLnBrk="0" hangingPunct="0">
              <a:defRPr sz="3200" b="1">
                <a:solidFill>
                  <a:schemeClr val="tx1"/>
                </a:solidFill>
                <a:latin typeface="Arial" panose="020B0604020202020204" pitchFamily="34" charset="0"/>
                <a:cs typeface="Arial" panose="020B0604020202020204" pitchFamily="34" charset="0"/>
              </a:defRPr>
            </a:lvl1pPr>
            <a:lvl2pPr marL="742950" indent="-285750" eaLnBrk="0" hangingPunct="0">
              <a:defRPr sz="3200" b="1">
                <a:solidFill>
                  <a:schemeClr val="tx1"/>
                </a:solidFill>
                <a:latin typeface="Arial" panose="020B0604020202020204" pitchFamily="34" charset="0"/>
                <a:cs typeface="Arial" panose="020B0604020202020204" pitchFamily="34" charset="0"/>
              </a:defRPr>
            </a:lvl2pPr>
            <a:lvl3pPr marL="1143000" indent="-228600" eaLnBrk="0" hangingPunct="0">
              <a:defRPr sz="3200" b="1">
                <a:solidFill>
                  <a:schemeClr val="tx1"/>
                </a:solidFill>
                <a:latin typeface="Arial" panose="020B0604020202020204" pitchFamily="34" charset="0"/>
                <a:cs typeface="Arial" panose="020B0604020202020204" pitchFamily="34" charset="0"/>
              </a:defRPr>
            </a:lvl3pPr>
            <a:lvl4pPr marL="1600200" indent="-228600" eaLnBrk="0" hangingPunct="0">
              <a:defRPr sz="3200" b="1">
                <a:solidFill>
                  <a:schemeClr val="tx1"/>
                </a:solidFill>
                <a:latin typeface="Arial" panose="020B0604020202020204" pitchFamily="34" charset="0"/>
                <a:cs typeface="Arial" panose="020B0604020202020204" pitchFamily="34" charset="0"/>
              </a:defRPr>
            </a:lvl4pPr>
            <a:lvl5pPr marL="2057400" indent="-228600" eaLnBrk="0" hangingPunct="0">
              <a:defRPr sz="3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9pPr>
          </a:lstStyle>
          <a:p>
            <a:pPr>
              <a:lnSpc>
                <a:spcPct val="80000"/>
              </a:lnSpc>
            </a:pPr>
            <a:endParaRPr lang="en-GB" altLang="en-US"/>
          </a:p>
        </p:txBody>
      </p:sp>
      <p:sp>
        <p:nvSpPr>
          <p:cNvPr id="6" name="Title 5"/>
          <p:cNvSpPr>
            <a:spLocks noGrp="1"/>
          </p:cNvSpPr>
          <p:nvPr>
            <p:ph type="title"/>
          </p:nvPr>
        </p:nvSpPr>
        <p:spPr>
          <a:xfrm>
            <a:off x="144463" y="0"/>
            <a:ext cx="8748100" cy="1143000"/>
          </a:xfrm>
        </p:spPr>
        <p:txBody>
          <a:bodyPr/>
          <a:lstStyle/>
          <a:p>
            <a:r>
              <a:rPr lang="en-IE" sz="2400" dirty="0"/>
              <a:t>Q1. </a:t>
            </a:r>
            <a:r>
              <a:rPr lang="en-IE" dirty="0"/>
              <a:t>Which is not a project?</a:t>
            </a:r>
            <a:endParaRPr lang="en-GB" sz="2400" dirty="0"/>
          </a:p>
        </p:txBody>
      </p:sp>
      <p:sp>
        <p:nvSpPr>
          <p:cNvPr id="14" name="TextBox 13"/>
          <p:cNvSpPr txBox="1"/>
          <p:nvPr/>
        </p:nvSpPr>
        <p:spPr>
          <a:xfrm>
            <a:off x="1" y="6660145"/>
            <a:ext cx="7036904" cy="207517"/>
          </a:xfrm>
          <a:prstGeom prst="rect">
            <a:avLst/>
          </a:prstGeom>
          <a:noFill/>
        </p:spPr>
        <p:txBody>
          <a:bodyPr wrap="square" lIns="95782" tIns="47891" rIns="95782" bIns="47891" rtlCol="0">
            <a:spAutoFit/>
          </a:bodyPr>
          <a:lstStyle/>
          <a:p>
            <a:r>
              <a:rPr lang="en-ZA" sz="900" b="0" dirty="0"/>
              <a:t>Source: APP 2015/2016, 2011 KZN Hospital Survey</a:t>
            </a:r>
            <a:endParaRPr lang="en-ZA" sz="2700" b="0" dirty="0"/>
          </a:p>
        </p:txBody>
      </p:sp>
      <p:sp>
        <p:nvSpPr>
          <p:cNvPr id="4" name="Slide Number Placeholder 3"/>
          <p:cNvSpPr>
            <a:spLocks noGrp="1"/>
          </p:cNvSpPr>
          <p:nvPr>
            <p:ph type="sldNum" sz="quarter" idx="10"/>
          </p:nvPr>
        </p:nvSpPr>
        <p:spPr/>
        <p:txBody>
          <a:bodyPr/>
          <a:lstStyle/>
          <a:p>
            <a:pPr>
              <a:defRPr/>
            </a:pPr>
            <a:endParaRPr lang="en-AU" dirty="0"/>
          </a:p>
        </p:txBody>
      </p:sp>
    </p:spTree>
    <p:extLst>
      <p:ext uri="{BB962C8B-B14F-4D97-AF65-F5344CB8AC3E}">
        <p14:creationId xmlns:p14="http://schemas.microsoft.com/office/powerpoint/2010/main" val="19860742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907511580"/>
              </p:ext>
            </p:extLst>
          </p:nvPr>
        </p:nvGraphicFramePr>
        <p:xfrm>
          <a:off x="2168165" y="301657"/>
          <a:ext cx="6768445" cy="34879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ZA" dirty="0"/>
              <a:t>The Operational Environ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3</a:t>
            </a:fld>
            <a:endParaRPr lang="en-ZA"/>
          </a:p>
        </p:txBody>
      </p:sp>
      <p:grpSp>
        <p:nvGrpSpPr>
          <p:cNvPr id="10" name="Group 9"/>
          <p:cNvGrpSpPr/>
          <p:nvPr/>
        </p:nvGrpSpPr>
        <p:grpSpPr>
          <a:xfrm>
            <a:off x="832473" y="3028881"/>
            <a:ext cx="1316837" cy="479727"/>
            <a:chOff x="2143" y="1844701"/>
            <a:chExt cx="959455" cy="479727"/>
          </a:xfrm>
        </p:grpSpPr>
        <p:sp>
          <p:nvSpPr>
            <p:cNvPr id="11" name="Rectangle 10"/>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2" name="TextBox 11"/>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product</a:t>
              </a:r>
            </a:p>
          </p:txBody>
        </p:sp>
      </p:grpSp>
      <p:grpSp>
        <p:nvGrpSpPr>
          <p:cNvPr id="13" name="Group 12"/>
          <p:cNvGrpSpPr/>
          <p:nvPr/>
        </p:nvGrpSpPr>
        <p:grpSpPr>
          <a:xfrm>
            <a:off x="832473" y="3725682"/>
            <a:ext cx="1316837" cy="479727"/>
            <a:chOff x="2143" y="1844701"/>
            <a:chExt cx="959455" cy="479727"/>
          </a:xfrm>
        </p:grpSpPr>
        <p:sp>
          <p:nvSpPr>
            <p:cNvPr id="14" name="Rectangle 13"/>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5" name="TextBox 14"/>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leave system</a:t>
              </a:r>
            </a:p>
          </p:txBody>
        </p:sp>
      </p:grpSp>
      <p:grpSp>
        <p:nvGrpSpPr>
          <p:cNvPr id="16" name="Group 15"/>
          <p:cNvGrpSpPr/>
          <p:nvPr/>
        </p:nvGrpSpPr>
        <p:grpSpPr>
          <a:xfrm>
            <a:off x="832472" y="4460706"/>
            <a:ext cx="1316837" cy="479727"/>
            <a:chOff x="2143" y="1844701"/>
            <a:chExt cx="959455" cy="479727"/>
          </a:xfrm>
        </p:grpSpPr>
        <p:sp>
          <p:nvSpPr>
            <p:cNvPr id="17" name="Rectangle 16"/>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8" name="TextBox 17"/>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dirty="0">
                  <a:solidFill>
                    <a:srgbClr val="FFFFFF"/>
                  </a:solidFill>
                  <a:latin typeface="Arial"/>
                </a:rPr>
                <a:t>Training</a:t>
              </a:r>
              <a:endParaRPr lang="en-US" sz="1500" kern="1200" dirty="0">
                <a:solidFill>
                  <a:srgbClr val="FFFFFF"/>
                </a:solidFill>
                <a:latin typeface="Arial"/>
                <a:ea typeface="+mn-ea"/>
                <a:cs typeface="+mn-cs"/>
              </a:endParaRPr>
            </a:p>
          </p:txBody>
        </p:sp>
      </p:grpSp>
      <p:grpSp>
        <p:nvGrpSpPr>
          <p:cNvPr id="19" name="Group 18"/>
          <p:cNvGrpSpPr/>
          <p:nvPr/>
        </p:nvGrpSpPr>
        <p:grpSpPr>
          <a:xfrm>
            <a:off x="163169" y="3000600"/>
            <a:ext cx="515559" cy="1939833"/>
            <a:chOff x="2143" y="1844701"/>
            <a:chExt cx="959455" cy="479727"/>
          </a:xfrm>
        </p:grpSpPr>
        <p:sp>
          <p:nvSpPr>
            <p:cNvPr id="20" name="Rectangle 19"/>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21" name="TextBox 20"/>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vert270"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Project office</a:t>
              </a:r>
            </a:p>
          </p:txBody>
        </p:sp>
      </p:grpSp>
      <p:cxnSp>
        <p:nvCxnSpPr>
          <p:cNvPr id="23" name="Straight Connector 22"/>
          <p:cNvCxnSpPr/>
          <p:nvPr/>
        </p:nvCxnSpPr>
        <p:spPr bwMode="auto">
          <a:xfrm>
            <a:off x="2686639"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4" name="Straight Connector 23"/>
          <p:cNvCxnSpPr/>
          <p:nvPr/>
        </p:nvCxnSpPr>
        <p:spPr bwMode="auto">
          <a:xfrm>
            <a:off x="381942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5" name="Straight Connector 24"/>
          <p:cNvCxnSpPr/>
          <p:nvPr/>
        </p:nvCxnSpPr>
        <p:spPr bwMode="auto">
          <a:xfrm>
            <a:off x="500720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6" name="Straight Connector 25"/>
          <p:cNvCxnSpPr/>
          <p:nvPr/>
        </p:nvCxnSpPr>
        <p:spPr bwMode="auto">
          <a:xfrm>
            <a:off x="6138420"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7" name="Straight Connector 26"/>
          <p:cNvCxnSpPr/>
          <p:nvPr/>
        </p:nvCxnSpPr>
        <p:spPr bwMode="auto">
          <a:xfrm>
            <a:off x="726963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8" name="Straight Connector 27"/>
          <p:cNvCxnSpPr/>
          <p:nvPr/>
        </p:nvCxnSpPr>
        <p:spPr bwMode="auto">
          <a:xfrm>
            <a:off x="842913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34" name="Straight Connector 33"/>
          <p:cNvCxnSpPr/>
          <p:nvPr/>
        </p:nvCxnSpPr>
        <p:spPr bwMode="auto">
          <a:xfrm>
            <a:off x="2281289" y="3280528"/>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5" name="Straight Connector 34"/>
          <p:cNvCxnSpPr/>
          <p:nvPr/>
        </p:nvCxnSpPr>
        <p:spPr bwMode="auto">
          <a:xfrm>
            <a:off x="2320566" y="3989109"/>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6" name="Straight Connector 35"/>
          <p:cNvCxnSpPr/>
          <p:nvPr/>
        </p:nvCxnSpPr>
        <p:spPr bwMode="auto">
          <a:xfrm>
            <a:off x="2377127" y="4724402"/>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54203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4463" y="0"/>
            <a:ext cx="8433480" cy="1143000"/>
          </a:xfrm>
        </p:spPr>
        <p:txBody>
          <a:bodyPr/>
          <a:lstStyle/>
          <a:p>
            <a:r>
              <a:rPr lang="en-ZA" dirty="0"/>
              <a:t>Role of the project manager</a:t>
            </a:r>
          </a:p>
        </p:txBody>
      </p:sp>
      <p:sp>
        <p:nvSpPr>
          <p:cNvPr id="3" name="Footer Placeholder 2"/>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3" name="Rectangle 12"/>
          <p:cNvSpPr/>
          <p:nvPr/>
        </p:nvSpPr>
        <p:spPr>
          <a:xfrm>
            <a:off x="276293" y="6675305"/>
            <a:ext cx="7590450" cy="289310"/>
          </a:xfrm>
          <a:prstGeom prst="rect">
            <a:avLst/>
          </a:prstGeom>
        </p:spPr>
        <p:txBody>
          <a:bodyPr wrap="square">
            <a:spAutoFit/>
          </a:bodyPr>
          <a:lstStyle/>
          <a:p>
            <a:r>
              <a:rPr lang="en-ZA" sz="800" b="0" i="1" dirty="0"/>
              <a:t>Source from RISHEN!</a:t>
            </a:r>
          </a:p>
          <a:p>
            <a:endParaRPr lang="en-ZA" sz="800" b="0" i="1" dirty="0"/>
          </a:p>
        </p:txBody>
      </p:sp>
      <p:sp>
        <p:nvSpPr>
          <p:cNvPr id="17" name="Content Placeholder 1"/>
          <p:cNvSpPr txBox="1">
            <a:spLocks/>
          </p:cNvSpPr>
          <p:nvPr/>
        </p:nvSpPr>
        <p:spPr bwMode="gray">
          <a:xfrm>
            <a:off x="381807" y="1339527"/>
            <a:ext cx="3861635" cy="49784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nSpc>
                <a:spcPct val="100000"/>
              </a:lnSpc>
              <a:buFontTx/>
              <a:buNone/>
            </a:pPr>
            <a:r>
              <a:rPr lang="en-ZA" sz="1400" kern="0" dirty="0"/>
              <a:t>The project manager must manage relationships between</a:t>
            </a:r>
            <a:r>
              <a:rPr lang="en-ZA" sz="1400" b="1" kern="0" dirty="0"/>
              <a:t>…</a:t>
            </a:r>
          </a:p>
          <a:p>
            <a:pPr marL="0" indent="0">
              <a:lnSpc>
                <a:spcPct val="100000"/>
              </a:lnSpc>
              <a:buFontTx/>
              <a:buNone/>
            </a:pPr>
            <a:endParaRPr lang="en-ZA" sz="1400" kern="0" dirty="0"/>
          </a:p>
          <a:p>
            <a:pPr marL="0" indent="0">
              <a:lnSpc>
                <a:spcPct val="100000"/>
              </a:lnSpc>
              <a:buNone/>
            </a:pPr>
            <a:r>
              <a:rPr lang="en-US" altLang="en-US" sz="1200" dirty="0"/>
              <a:t>   </a:t>
            </a:r>
            <a:endParaRPr lang="en-ZA" sz="1200" b="0" kern="0" dirty="0"/>
          </a:p>
          <a:p>
            <a:pPr marL="0" indent="0">
              <a:lnSpc>
                <a:spcPct val="100000"/>
              </a:lnSpc>
              <a:buFontTx/>
              <a:buNone/>
            </a:pPr>
            <a:endParaRPr lang="en-ZA" sz="1400" b="0" kern="0" dirty="0"/>
          </a:p>
          <a:p>
            <a:pPr marL="0" indent="0">
              <a:lnSpc>
                <a:spcPct val="100000"/>
              </a:lnSpc>
              <a:buFontTx/>
              <a:buNone/>
            </a:pPr>
            <a:endParaRPr lang="en-ZA" sz="1400" b="0" kern="0" dirty="0"/>
          </a:p>
        </p:txBody>
      </p:sp>
      <p:graphicFrame>
        <p:nvGraphicFramePr>
          <p:cNvPr id="7" name="Diagram 6"/>
          <p:cNvGraphicFramePr/>
          <p:nvPr>
            <p:extLst>
              <p:ext uri="{D42A27DB-BD31-4B8C-83A1-F6EECF244321}">
                <p14:modId xmlns:p14="http://schemas.microsoft.com/office/powerpoint/2010/main" val="1150476103"/>
              </p:ext>
            </p:extLst>
          </p:nvPr>
        </p:nvGraphicFramePr>
        <p:xfrm>
          <a:off x="305803" y="1647046"/>
          <a:ext cx="7659845" cy="4786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9785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12" indent="0">
              <a:buNone/>
            </a:pPr>
            <a:r>
              <a:rPr lang="en-ZA" sz="1900" kern="1200" dirty="0"/>
              <a:t>“Project management is designed to make better use of existing resources by getting work to flow horizontally as well as vertically within the company.” </a:t>
            </a:r>
          </a:p>
          <a:p>
            <a:pPr marL="612" indent="0">
              <a:buNone/>
            </a:pPr>
            <a:endParaRPr lang="en-ZA" sz="1900" kern="1200" dirty="0"/>
          </a:p>
          <a:p>
            <a:pPr marL="612" indent="0">
              <a:buNone/>
            </a:pPr>
            <a:r>
              <a:rPr lang="en-ZA" sz="1900" kern="1200" dirty="0"/>
              <a:t>With the aid of a diagram, explain how the typical bureaucratic company is structured in terms of both management and functional divisions. How does project management principles assist these operational islands to work together towards achieving project objectives?</a:t>
            </a:r>
          </a:p>
        </p:txBody>
      </p:sp>
      <p:sp>
        <p:nvSpPr>
          <p:cNvPr id="4" name="Title 3"/>
          <p:cNvSpPr>
            <a:spLocks noGrp="1"/>
          </p:cNvSpPr>
          <p:nvPr>
            <p:ph type="title"/>
          </p:nvPr>
        </p:nvSpPr>
        <p:spPr/>
        <p:txBody>
          <a:bodyPr/>
          <a:lstStyle/>
          <a:p>
            <a:r>
              <a:rPr lang="en-ZA" dirty="0"/>
              <a:t>Activity 1: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5</a:t>
            </a:fld>
            <a:endParaRPr lang="en-ZA"/>
          </a:p>
        </p:txBody>
      </p:sp>
      <p:sp>
        <p:nvSpPr>
          <p:cNvPr id="8" name="Oval 7"/>
          <p:cNvSpPr/>
          <p:nvPr/>
        </p:nvSpPr>
        <p:spPr bwMode="auto">
          <a:xfrm>
            <a:off x="7574454" y="135100"/>
            <a:ext cx="1388572" cy="1285714"/>
          </a:xfrm>
          <a:prstGeom prst="ellips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5782" tIns="47891" rIns="95782" bIns="47891" numCol="1" rtlCol="0" anchor="ctr" anchorCtr="0" compatLnSpc="1">
            <a:prstTxWarp prst="textNoShape">
              <a:avLst/>
            </a:prstTxWarp>
          </a:bodyPr>
          <a:lstStyle/>
          <a:p>
            <a:pPr algn="ctr" defTabSz="957816"/>
            <a:r>
              <a:rPr lang="en-ZA" sz="3000" dirty="0">
                <a:solidFill>
                  <a:schemeClr val="bg1"/>
                </a:solidFill>
              </a:rPr>
              <a:t>15 min</a:t>
            </a:r>
          </a:p>
        </p:txBody>
      </p:sp>
    </p:spTree>
    <p:extLst>
      <p:ext uri="{BB962C8B-B14F-4D97-AF65-F5344CB8AC3E}">
        <p14:creationId xmlns:p14="http://schemas.microsoft.com/office/powerpoint/2010/main" val="238166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riving forces for project managemen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56295696"/>
              </p:ext>
            </p:extLst>
          </p:nvPr>
        </p:nvGraphicFramePr>
        <p:xfrm>
          <a:off x="144463" y="1279329"/>
          <a:ext cx="8826500" cy="5064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5" name="Slide Number Placeholder 4"/>
          <p:cNvSpPr>
            <a:spLocks noGrp="1"/>
          </p:cNvSpPr>
          <p:nvPr>
            <p:ph type="sldNum" sz="quarter" idx="11"/>
          </p:nvPr>
        </p:nvSpPr>
        <p:spPr/>
        <p:txBody>
          <a:bodyPr/>
          <a:lstStyle/>
          <a:p>
            <a:fld id="{A1939E73-A648-45AF-A753-F4C0848EA4EB}" type="slidenum">
              <a:rPr lang="en-ZA" smtClean="0"/>
              <a:pPr/>
              <a:t>6</a:t>
            </a:fld>
            <a:endParaRPr lang="en-ZA"/>
          </a:p>
        </p:txBody>
      </p:sp>
      <p:sp>
        <p:nvSpPr>
          <p:cNvPr id="7" name="TextBox 6"/>
          <p:cNvSpPr txBox="1"/>
          <p:nvPr/>
        </p:nvSpPr>
        <p:spPr>
          <a:xfrm>
            <a:off x="3440783" y="1932493"/>
            <a:ext cx="578620" cy="3243965"/>
          </a:xfrm>
          <a:prstGeom prst="rect">
            <a:avLst/>
          </a:prstGeom>
          <a:noFill/>
        </p:spPr>
        <p:txBody>
          <a:bodyPr vert="vert270" wrap="square" rtlCol="0">
            <a:spAutoFit/>
          </a:bodyPr>
          <a:lstStyle/>
          <a:p>
            <a:r>
              <a:rPr lang="en-ZA" dirty="0"/>
              <a:t>SURVIVAL</a:t>
            </a:r>
          </a:p>
        </p:txBody>
      </p:sp>
    </p:spTree>
    <p:extLst>
      <p:ext uri="{BB962C8B-B14F-4D97-AF65-F5344CB8AC3E}">
        <p14:creationId xmlns:p14="http://schemas.microsoft.com/office/powerpoint/2010/main" val="1075749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6293" y="1229901"/>
            <a:ext cx="3318235" cy="511107"/>
          </a:xfrm>
        </p:spPr>
        <p:txBody>
          <a:bodyPr/>
          <a:lstStyle/>
          <a:p>
            <a:r>
              <a:rPr lang="en-ZA" b="1" dirty="0"/>
              <a:t>Reasons for project planning</a:t>
            </a:r>
          </a:p>
        </p:txBody>
      </p:sp>
      <p:sp>
        <p:nvSpPr>
          <p:cNvPr id="4" name="Title 3"/>
          <p:cNvSpPr>
            <a:spLocks noGrp="1"/>
          </p:cNvSpPr>
          <p:nvPr>
            <p:ph type="title"/>
          </p:nvPr>
        </p:nvSpPr>
        <p:spPr/>
        <p:txBody>
          <a:bodyPr/>
          <a:lstStyle/>
          <a:p>
            <a:r>
              <a:rPr lang="en-ZA" dirty="0"/>
              <a:t>Reasons for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7</a:t>
            </a:fld>
            <a:endParaRPr lang="en-ZA"/>
          </a:p>
        </p:txBody>
      </p:sp>
      <p:graphicFrame>
        <p:nvGraphicFramePr>
          <p:cNvPr id="8" name="Diagram 7"/>
          <p:cNvGraphicFramePr/>
          <p:nvPr>
            <p:extLst>
              <p:ext uri="{D42A27DB-BD31-4B8C-83A1-F6EECF244321}">
                <p14:modId xmlns:p14="http://schemas.microsoft.com/office/powerpoint/2010/main" val="1380884745"/>
              </p:ext>
            </p:extLst>
          </p:nvPr>
        </p:nvGraphicFramePr>
        <p:xfrm>
          <a:off x="150829" y="1310326"/>
          <a:ext cx="4198556" cy="5123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4474849" y="1523027"/>
            <a:ext cx="4369114" cy="683264"/>
          </a:xfrm>
          <a:prstGeom prst="rect">
            <a:avLst/>
          </a:prstGeom>
          <a:noFill/>
        </p:spPr>
        <p:txBody>
          <a:bodyPr wrap="square" rtlCol="0">
            <a:spAutoFit/>
          </a:bodyPr>
          <a:lstStyle/>
          <a:p>
            <a:endParaRPr lang="en-ZA" b="0" dirty="0"/>
          </a:p>
          <a:p>
            <a:r>
              <a:rPr lang="en-ZA" sz="1600" b="0" dirty="0"/>
              <a:t> </a:t>
            </a:r>
          </a:p>
        </p:txBody>
      </p:sp>
      <p:sp>
        <p:nvSpPr>
          <p:cNvPr id="10" name="Content Placeholder 1"/>
          <p:cNvSpPr txBox="1">
            <a:spLocks/>
          </p:cNvSpPr>
          <p:nvPr/>
        </p:nvSpPr>
        <p:spPr bwMode="gray">
          <a:xfrm>
            <a:off x="5085534" y="1259651"/>
            <a:ext cx="3318235" cy="511107"/>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buChar char="•"/>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buChar char="–"/>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buChar char="•"/>
              <a:defRPr lang="de-DE" sz="1050" dirty="0">
                <a:solidFill>
                  <a:schemeClr val="tx1"/>
                </a:solidFill>
                <a:latin typeface="+mn-lt"/>
                <a:ea typeface="+mn-ea"/>
                <a:cs typeface="+mn-cs"/>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a:lnSpc>
                <a:spcPct val="100000"/>
              </a:lnSpc>
            </a:pPr>
            <a:r>
              <a:rPr lang="en-ZA" b="1" kern="0" dirty="0"/>
              <a:t>Components of planning</a:t>
            </a:r>
          </a:p>
        </p:txBody>
      </p:sp>
      <p:sp>
        <p:nvSpPr>
          <p:cNvPr id="11" name="Isosceles Triangle 10"/>
          <p:cNvSpPr/>
          <p:nvPr/>
        </p:nvSpPr>
        <p:spPr bwMode="auto">
          <a:xfrm rot="5400000">
            <a:off x="3547755" y="3512128"/>
            <a:ext cx="2404755" cy="308760"/>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a:ln>
                <a:noFill/>
              </a:ln>
              <a:solidFill>
                <a:schemeClr val="tx1"/>
              </a:solidFill>
              <a:effectLst/>
              <a:latin typeface="Arial" charset="0"/>
            </a:endParaRPr>
          </a:p>
        </p:txBody>
      </p:sp>
      <p:grpSp>
        <p:nvGrpSpPr>
          <p:cNvPr id="42" name="Group 41"/>
          <p:cNvGrpSpPr/>
          <p:nvPr/>
        </p:nvGrpSpPr>
        <p:grpSpPr>
          <a:xfrm>
            <a:off x="5200379" y="1851285"/>
            <a:ext cx="3889951" cy="4227739"/>
            <a:chOff x="5079477" y="1939466"/>
            <a:chExt cx="1956060" cy="3801008"/>
          </a:xfrm>
        </p:grpSpPr>
        <p:sp>
          <p:nvSpPr>
            <p:cNvPr id="21" name="Oval 20"/>
            <p:cNvSpPr/>
            <p:nvPr/>
          </p:nvSpPr>
          <p:spPr bwMode="auto">
            <a:xfrm>
              <a:off x="5079477" y="194988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1</a:t>
              </a:r>
            </a:p>
          </p:txBody>
        </p:sp>
        <p:sp>
          <p:nvSpPr>
            <p:cNvPr id="22" name="Oval 21"/>
            <p:cNvSpPr/>
            <p:nvPr/>
          </p:nvSpPr>
          <p:spPr bwMode="auto">
            <a:xfrm>
              <a:off x="5079477" y="238823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2</a:t>
              </a:r>
              <a:endParaRPr kumimoji="0" lang="en-ZA" sz="1600" b="1" i="0" u="none" strike="noStrike" cap="none" normalizeH="0" baseline="0" dirty="0">
                <a:ln>
                  <a:noFill/>
                </a:ln>
                <a:solidFill>
                  <a:schemeClr val="bg1"/>
                </a:solidFill>
                <a:effectLst/>
                <a:latin typeface="Arial" charset="0"/>
              </a:endParaRPr>
            </a:p>
          </p:txBody>
        </p:sp>
        <p:sp>
          <p:nvSpPr>
            <p:cNvPr id="23" name="Oval 22"/>
            <p:cNvSpPr/>
            <p:nvPr/>
          </p:nvSpPr>
          <p:spPr bwMode="auto">
            <a:xfrm>
              <a:off x="5079477" y="282657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3</a:t>
              </a:r>
              <a:endParaRPr kumimoji="0" lang="en-ZA" sz="1600" b="1" i="0" u="none" strike="noStrike" cap="none" normalizeH="0" baseline="0" dirty="0">
                <a:ln>
                  <a:noFill/>
                </a:ln>
                <a:solidFill>
                  <a:schemeClr val="bg1"/>
                </a:solidFill>
                <a:effectLst/>
                <a:latin typeface="Arial" charset="0"/>
              </a:endParaRPr>
            </a:p>
          </p:txBody>
        </p:sp>
        <p:sp>
          <p:nvSpPr>
            <p:cNvPr id="24" name="Oval 23"/>
            <p:cNvSpPr/>
            <p:nvPr/>
          </p:nvSpPr>
          <p:spPr bwMode="auto">
            <a:xfrm>
              <a:off x="5079477" y="3264924"/>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4</a:t>
              </a:r>
            </a:p>
          </p:txBody>
        </p:sp>
        <p:sp>
          <p:nvSpPr>
            <p:cNvPr id="25" name="Oval 24"/>
            <p:cNvSpPr/>
            <p:nvPr/>
          </p:nvSpPr>
          <p:spPr bwMode="auto">
            <a:xfrm>
              <a:off x="5079477" y="3703270"/>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5</a:t>
              </a:r>
            </a:p>
          </p:txBody>
        </p:sp>
        <p:sp>
          <p:nvSpPr>
            <p:cNvPr id="26" name="Oval 25"/>
            <p:cNvSpPr/>
            <p:nvPr/>
          </p:nvSpPr>
          <p:spPr bwMode="auto">
            <a:xfrm>
              <a:off x="5079477" y="414161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6</a:t>
              </a:r>
            </a:p>
          </p:txBody>
        </p:sp>
        <p:sp>
          <p:nvSpPr>
            <p:cNvPr id="27" name="Oval 26"/>
            <p:cNvSpPr/>
            <p:nvPr/>
          </p:nvSpPr>
          <p:spPr bwMode="auto">
            <a:xfrm>
              <a:off x="5079477" y="457996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7</a:t>
              </a:r>
            </a:p>
          </p:txBody>
        </p:sp>
        <p:sp>
          <p:nvSpPr>
            <p:cNvPr id="28" name="TextBox 27"/>
            <p:cNvSpPr txBox="1"/>
            <p:nvPr/>
          </p:nvSpPr>
          <p:spPr>
            <a:xfrm>
              <a:off x="5423554" y="1939466"/>
              <a:ext cx="1611983" cy="289310"/>
            </a:xfrm>
            <a:prstGeom prst="rect">
              <a:avLst/>
            </a:prstGeom>
            <a:noFill/>
          </p:spPr>
          <p:txBody>
            <a:bodyPr wrap="square" rtlCol="0">
              <a:spAutoFit/>
            </a:bodyPr>
            <a:lstStyle/>
            <a:p>
              <a:r>
                <a:rPr lang="en-ZA" sz="1600" dirty="0"/>
                <a:t>Objective</a:t>
              </a:r>
            </a:p>
          </p:txBody>
        </p:sp>
        <p:sp>
          <p:nvSpPr>
            <p:cNvPr id="30" name="Oval 29"/>
            <p:cNvSpPr/>
            <p:nvPr/>
          </p:nvSpPr>
          <p:spPr bwMode="auto">
            <a:xfrm>
              <a:off x="5079477" y="501830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8</a:t>
              </a:r>
            </a:p>
          </p:txBody>
        </p:sp>
        <p:sp>
          <p:nvSpPr>
            <p:cNvPr id="31" name="Oval 30"/>
            <p:cNvSpPr/>
            <p:nvPr/>
          </p:nvSpPr>
          <p:spPr bwMode="auto">
            <a:xfrm>
              <a:off x="5079477" y="545665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9</a:t>
              </a:r>
            </a:p>
          </p:txBody>
        </p:sp>
        <p:sp>
          <p:nvSpPr>
            <p:cNvPr id="32" name="TextBox 31"/>
            <p:cNvSpPr txBox="1"/>
            <p:nvPr/>
          </p:nvSpPr>
          <p:spPr>
            <a:xfrm>
              <a:off x="5423554" y="2365242"/>
              <a:ext cx="1611983" cy="289310"/>
            </a:xfrm>
            <a:prstGeom prst="rect">
              <a:avLst/>
            </a:prstGeom>
            <a:noFill/>
          </p:spPr>
          <p:txBody>
            <a:bodyPr wrap="square" rtlCol="0">
              <a:spAutoFit/>
            </a:bodyPr>
            <a:lstStyle/>
            <a:p>
              <a:r>
                <a:rPr lang="en-ZA" sz="1600" dirty="0"/>
                <a:t>Programme</a:t>
              </a:r>
            </a:p>
          </p:txBody>
        </p:sp>
        <p:sp>
          <p:nvSpPr>
            <p:cNvPr id="35" name="TextBox 34"/>
            <p:cNvSpPr txBox="1"/>
            <p:nvPr/>
          </p:nvSpPr>
          <p:spPr>
            <a:xfrm>
              <a:off x="5423554" y="2851874"/>
              <a:ext cx="1611983" cy="289310"/>
            </a:xfrm>
            <a:prstGeom prst="rect">
              <a:avLst/>
            </a:prstGeom>
            <a:noFill/>
          </p:spPr>
          <p:txBody>
            <a:bodyPr wrap="square" rtlCol="0">
              <a:spAutoFit/>
            </a:bodyPr>
            <a:lstStyle/>
            <a:p>
              <a:r>
                <a:rPr lang="en-ZA" sz="1600" dirty="0"/>
                <a:t>Schedule</a:t>
              </a:r>
            </a:p>
          </p:txBody>
        </p:sp>
        <p:sp>
          <p:nvSpPr>
            <p:cNvPr id="36" name="TextBox 35"/>
            <p:cNvSpPr txBox="1"/>
            <p:nvPr/>
          </p:nvSpPr>
          <p:spPr>
            <a:xfrm>
              <a:off x="5423554" y="3271774"/>
              <a:ext cx="1611983" cy="289310"/>
            </a:xfrm>
            <a:prstGeom prst="rect">
              <a:avLst/>
            </a:prstGeom>
            <a:noFill/>
          </p:spPr>
          <p:txBody>
            <a:bodyPr wrap="square" rtlCol="0">
              <a:spAutoFit/>
            </a:bodyPr>
            <a:lstStyle/>
            <a:p>
              <a:r>
                <a:rPr lang="en-ZA" sz="1600" dirty="0"/>
                <a:t>Budget</a:t>
              </a:r>
            </a:p>
          </p:txBody>
        </p:sp>
        <p:sp>
          <p:nvSpPr>
            <p:cNvPr id="37" name="TextBox 36"/>
            <p:cNvSpPr txBox="1"/>
            <p:nvPr/>
          </p:nvSpPr>
          <p:spPr>
            <a:xfrm>
              <a:off x="5423554" y="3727523"/>
              <a:ext cx="1611983" cy="289310"/>
            </a:xfrm>
            <a:prstGeom prst="rect">
              <a:avLst/>
            </a:prstGeom>
            <a:noFill/>
          </p:spPr>
          <p:txBody>
            <a:bodyPr wrap="square" rtlCol="0">
              <a:spAutoFit/>
            </a:bodyPr>
            <a:lstStyle/>
            <a:p>
              <a:r>
                <a:rPr lang="en-ZA" sz="1600" dirty="0"/>
                <a:t>Forecast</a:t>
              </a:r>
            </a:p>
          </p:txBody>
        </p:sp>
        <p:sp>
          <p:nvSpPr>
            <p:cNvPr id="38" name="TextBox 37"/>
            <p:cNvSpPr txBox="1"/>
            <p:nvPr/>
          </p:nvSpPr>
          <p:spPr>
            <a:xfrm>
              <a:off x="5423554" y="4121709"/>
              <a:ext cx="1611983" cy="289310"/>
            </a:xfrm>
            <a:prstGeom prst="rect">
              <a:avLst/>
            </a:prstGeom>
            <a:noFill/>
          </p:spPr>
          <p:txBody>
            <a:bodyPr wrap="square" rtlCol="0">
              <a:spAutoFit/>
            </a:bodyPr>
            <a:lstStyle/>
            <a:p>
              <a:r>
                <a:rPr lang="en-ZA" sz="1600" dirty="0"/>
                <a:t>Organisation</a:t>
              </a:r>
            </a:p>
          </p:txBody>
        </p:sp>
        <p:sp>
          <p:nvSpPr>
            <p:cNvPr id="39" name="TextBox 38"/>
            <p:cNvSpPr txBox="1"/>
            <p:nvPr/>
          </p:nvSpPr>
          <p:spPr>
            <a:xfrm>
              <a:off x="5423554" y="4563256"/>
              <a:ext cx="1611983" cy="289310"/>
            </a:xfrm>
            <a:prstGeom prst="rect">
              <a:avLst/>
            </a:prstGeom>
            <a:noFill/>
          </p:spPr>
          <p:txBody>
            <a:bodyPr wrap="square" rtlCol="0">
              <a:spAutoFit/>
            </a:bodyPr>
            <a:lstStyle/>
            <a:p>
              <a:r>
                <a:rPr lang="en-ZA" sz="1600" dirty="0"/>
                <a:t>Policy</a:t>
              </a:r>
            </a:p>
          </p:txBody>
        </p:sp>
        <p:sp>
          <p:nvSpPr>
            <p:cNvPr id="40" name="TextBox 39"/>
            <p:cNvSpPr txBox="1"/>
            <p:nvPr/>
          </p:nvSpPr>
          <p:spPr>
            <a:xfrm>
              <a:off x="5423554" y="4980998"/>
              <a:ext cx="1611983" cy="289310"/>
            </a:xfrm>
            <a:prstGeom prst="rect">
              <a:avLst/>
            </a:prstGeom>
            <a:noFill/>
          </p:spPr>
          <p:txBody>
            <a:bodyPr wrap="square" rtlCol="0">
              <a:spAutoFit/>
            </a:bodyPr>
            <a:lstStyle/>
            <a:p>
              <a:r>
                <a:rPr lang="en-ZA" sz="1600" dirty="0"/>
                <a:t>Procedure</a:t>
              </a:r>
            </a:p>
          </p:txBody>
        </p:sp>
        <p:sp>
          <p:nvSpPr>
            <p:cNvPr id="41" name="TextBox 40"/>
            <p:cNvSpPr txBox="1"/>
            <p:nvPr/>
          </p:nvSpPr>
          <p:spPr>
            <a:xfrm>
              <a:off x="5423554" y="5451164"/>
              <a:ext cx="1611983" cy="289310"/>
            </a:xfrm>
            <a:prstGeom prst="rect">
              <a:avLst/>
            </a:prstGeom>
            <a:noFill/>
          </p:spPr>
          <p:txBody>
            <a:bodyPr wrap="square" rtlCol="0">
              <a:spAutoFit/>
            </a:bodyPr>
            <a:lstStyle/>
            <a:p>
              <a:r>
                <a:rPr lang="en-ZA" sz="1600" dirty="0"/>
                <a:t>Standard</a:t>
              </a:r>
            </a:p>
          </p:txBody>
        </p:sp>
      </p:grpSp>
    </p:spTree>
    <p:extLst>
      <p:ext uri="{BB962C8B-B14F-4D97-AF65-F5344CB8AC3E}">
        <p14:creationId xmlns:p14="http://schemas.microsoft.com/office/powerpoint/2010/main" val="381346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Life Cycle Phases for Project Manage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8</a:t>
            </a:fld>
            <a:endParaRPr lang="en-ZA"/>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4825" y="1679944"/>
            <a:ext cx="8231975" cy="4518837"/>
          </a:xfrm>
        </p:spPr>
      </p:pic>
    </p:spTree>
    <p:extLst>
      <p:ext uri="{BB962C8B-B14F-4D97-AF65-F5344CB8AC3E}">
        <p14:creationId xmlns:p14="http://schemas.microsoft.com/office/powerpoint/2010/main" val="1680661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Project Management Lifecycle Planning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9</a:t>
            </a:fld>
            <a:endParaRPr lang="en-ZA"/>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4247925743"/>
              </p:ext>
            </p:extLst>
          </p:nvPr>
        </p:nvGraphicFramePr>
        <p:xfrm>
          <a:off x="144463" y="1266375"/>
          <a:ext cx="8748712" cy="4575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276293" y="1143000"/>
            <a:ext cx="8311289" cy="1815882"/>
          </a:xfrm>
          <a:prstGeom prst="rect">
            <a:avLst/>
          </a:prstGeom>
          <a:noFill/>
        </p:spPr>
        <p:txBody>
          <a:bodyPr wrap="square" rtlCol="0">
            <a:spAutoFit/>
          </a:bodyPr>
          <a:lstStyle/>
          <a:p>
            <a:endParaRPr lang="en-ZA" sz="1400" b="0" dirty="0"/>
          </a:p>
          <a:p>
            <a:r>
              <a:rPr lang="en-ZA" sz="1400" b="0" dirty="0"/>
              <a:t>Project planning provides for a uniform approach to project management across the organisation. Project managers still maintain ultimate control, however the project organisation may define key stage gates that must be complied with before allowing the project to proceed into the next stage. </a:t>
            </a:r>
          </a:p>
          <a:p>
            <a:endParaRPr lang="en-ZA" sz="1400" b="0" dirty="0"/>
          </a:p>
          <a:p>
            <a:r>
              <a:rPr lang="en-ZA" sz="1400" b="0" dirty="0"/>
              <a:t>Key decisions at the end of each stage may include:</a:t>
            </a:r>
          </a:p>
          <a:p>
            <a:pPr lvl="1"/>
            <a:r>
              <a:rPr lang="en-ZA" sz="1400" b="0" dirty="0"/>
              <a:t>● Proceed with the next phase based on an approved funding level </a:t>
            </a:r>
          </a:p>
          <a:p>
            <a:pPr lvl="1"/>
            <a:r>
              <a:rPr lang="en-ZA" sz="1400" b="0" dirty="0"/>
              <a:t>● Proceed to the next phase but with a new or modified set of objectives </a:t>
            </a:r>
          </a:p>
          <a:p>
            <a:pPr lvl="1"/>
            <a:r>
              <a:rPr lang="en-ZA" sz="1400" b="0" dirty="0"/>
              <a:t>● Postpone approval to proceed based on a need for additional information </a:t>
            </a:r>
          </a:p>
          <a:p>
            <a:pPr lvl="1"/>
            <a:r>
              <a:rPr lang="en-ZA" sz="1400" b="0" dirty="0"/>
              <a:t>● Terminate project </a:t>
            </a:r>
            <a:endParaRPr lang="en-ZA" sz="1400" dirty="0"/>
          </a:p>
        </p:txBody>
      </p:sp>
      <p:cxnSp>
        <p:nvCxnSpPr>
          <p:cNvPr id="12" name="Straight Connector 11"/>
          <p:cNvCxnSpPr/>
          <p:nvPr/>
        </p:nvCxnSpPr>
        <p:spPr bwMode="auto">
          <a:xfrm>
            <a:off x="1645920"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3" name="Straight Connector 12"/>
          <p:cNvCxnSpPr/>
          <p:nvPr/>
        </p:nvCxnSpPr>
        <p:spPr bwMode="auto">
          <a:xfrm>
            <a:off x="3142089"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4" name="Straight Connector 13"/>
          <p:cNvCxnSpPr/>
          <p:nvPr/>
        </p:nvCxnSpPr>
        <p:spPr bwMode="auto">
          <a:xfrm>
            <a:off x="4573323"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5" name="Straight Connector 14"/>
          <p:cNvCxnSpPr/>
          <p:nvPr/>
        </p:nvCxnSpPr>
        <p:spPr bwMode="auto">
          <a:xfrm>
            <a:off x="6099976"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6" name="Straight Connector 15"/>
          <p:cNvCxnSpPr/>
          <p:nvPr/>
        </p:nvCxnSpPr>
        <p:spPr bwMode="auto">
          <a:xfrm>
            <a:off x="7570965"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17" name="TextBox 16"/>
          <p:cNvSpPr txBox="1"/>
          <p:nvPr/>
        </p:nvSpPr>
        <p:spPr>
          <a:xfrm>
            <a:off x="119268" y="4007455"/>
            <a:ext cx="1496169" cy="904863"/>
          </a:xfrm>
          <a:prstGeom prst="rect">
            <a:avLst/>
          </a:prstGeom>
          <a:noFill/>
        </p:spPr>
        <p:txBody>
          <a:bodyPr wrap="square" rtlCol="0">
            <a:spAutoFit/>
          </a:bodyPr>
          <a:lstStyle/>
          <a:p>
            <a:pPr marL="171450" indent="-171450">
              <a:buFont typeface="Arial" panose="020B0604020202020204" pitchFamily="34" charset="0"/>
              <a:buChar char="•"/>
            </a:pPr>
            <a:r>
              <a:rPr lang="en-ZA" sz="1100" dirty="0"/>
              <a:t>Concept Document</a:t>
            </a:r>
          </a:p>
          <a:p>
            <a:pPr marL="171450" indent="-171450">
              <a:buFont typeface="Arial" panose="020B0604020202020204" pitchFamily="34" charset="0"/>
              <a:buChar char="•"/>
            </a:pPr>
            <a:r>
              <a:rPr lang="en-ZA" sz="1100" dirty="0"/>
              <a:t>Prefeasibility Report</a:t>
            </a:r>
          </a:p>
          <a:p>
            <a:endParaRPr lang="en-ZA" sz="1100" dirty="0"/>
          </a:p>
          <a:p>
            <a:endParaRPr lang="en-ZA" sz="1100" dirty="0"/>
          </a:p>
        </p:txBody>
      </p:sp>
      <p:sp>
        <p:nvSpPr>
          <p:cNvPr id="18" name="TextBox 17"/>
          <p:cNvSpPr txBox="1"/>
          <p:nvPr/>
        </p:nvSpPr>
        <p:spPr>
          <a:xfrm>
            <a:off x="1735371" y="39929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Feasibility Report</a:t>
            </a:r>
          </a:p>
          <a:p>
            <a:pPr marL="171450" indent="-171450">
              <a:buFont typeface="Arial" panose="020B0604020202020204" pitchFamily="34" charset="0"/>
              <a:buChar char="•"/>
            </a:pPr>
            <a:r>
              <a:rPr lang="en-ZA" sz="1100" dirty="0"/>
              <a:t>High level project plan</a:t>
            </a:r>
          </a:p>
          <a:p>
            <a:pPr marL="171450" indent="-171450">
              <a:buFont typeface="Arial" panose="020B0604020202020204" pitchFamily="34" charset="0"/>
              <a:buChar char="•"/>
            </a:pPr>
            <a:r>
              <a:rPr lang="en-ZA" sz="1100" dirty="0"/>
              <a:t>Cost/Benefit Analysis</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19" name="TextBox 18"/>
          <p:cNvSpPr txBox="1"/>
          <p:nvPr/>
        </p:nvSpPr>
        <p:spPr>
          <a:xfrm>
            <a:off x="3142089" y="3992939"/>
            <a:ext cx="1496169" cy="1175706"/>
          </a:xfrm>
          <a:prstGeom prst="rect">
            <a:avLst/>
          </a:prstGeom>
          <a:noFill/>
        </p:spPr>
        <p:txBody>
          <a:bodyPr wrap="square" rtlCol="0">
            <a:spAutoFit/>
          </a:bodyPr>
          <a:lstStyle/>
          <a:p>
            <a:pPr marL="171450" indent="-171450">
              <a:buFont typeface="Arial" panose="020B0604020202020204" pitchFamily="34" charset="0"/>
              <a:buChar char="•"/>
            </a:pPr>
            <a:r>
              <a:rPr lang="en-ZA" sz="1100" dirty="0"/>
              <a:t>Scope of Work</a:t>
            </a:r>
          </a:p>
          <a:p>
            <a:pPr marL="171450" indent="-171450">
              <a:buFont typeface="Arial" panose="020B0604020202020204" pitchFamily="34" charset="0"/>
              <a:buChar char="•"/>
            </a:pPr>
            <a:r>
              <a:rPr lang="en-ZA" sz="1100" dirty="0"/>
              <a:t>Contractor task</a:t>
            </a:r>
          </a:p>
          <a:p>
            <a:pPr marL="171450" indent="-171450">
              <a:buFont typeface="Arial" panose="020B0604020202020204" pitchFamily="34" charset="0"/>
              <a:buChar char="•"/>
            </a:pPr>
            <a:r>
              <a:rPr lang="en-ZA" sz="1100" dirty="0"/>
              <a:t>Specifications</a:t>
            </a:r>
          </a:p>
          <a:p>
            <a:pPr marL="171450" indent="-171450">
              <a:buFont typeface="Arial" panose="020B0604020202020204" pitchFamily="34" charset="0"/>
              <a:buChar char="•"/>
            </a:pPr>
            <a:r>
              <a:rPr lang="en-ZA" sz="1100" dirty="0"/>
              <a:t>Objectives</a:t>
            </a:r>
          </a:p>
          <a:p>
            <a:pPr marL="171450" indent="-171450">
              <a:buFont typeface="Arial" panose="020B0604020202020204" pitchFamily="34" charset="0"/>
              <a:buChar char="•"/>
            </a:pPr>
            <a:endParaRPr lang="en-ZA" sz="1100" dirty="0"/>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0" name="TextBox 19"/>
          <p:cNvSpPr txBox="1"/>
          <p:nvPr/>
        </p:nvSpPr>
        <p:spPr>
          <a:xfrm>
            <a:off x="4550126" y="3977586"/>
            <a:ext cx="1496169" cy="1581972"/>
          </a:xfrm>
          <a:prstGeom prst="rect">
            <a:avLst/>
          </a:prstGeom>
          <a:noFill/>
        </p:spPr>
        <p:txBody>
          <a:bodyPr wrap="square" rtlCol="0">
            <a:spAutoFit/>
          </a:bodyPr>
          <a:lstStyle/>
          <a:p>
            <a:pPr marL="171450" indent="-171450">
              <a:buFont typeface="Arial" panose="020B0604020202020204" pitchFamily="34" charset="0"/>
              <a:buChar char="•"/>
            </a:pPr>
            <a:r>
              <a:rPr lang="en-ZA" sz="1100" dirty="0"/>
              <a:t>Detailed project plan</a:t>
            </a:r>
          </a:p>
          <a:p>
            <a:pPr marL="171450" indent="-171450">
              <a:buFont typeface="Arial" panose="020B0604020202020204" pitchFamily="34" charset="0"/>
              <a:buChar char="•"/>
            </a:pPr>
            <a:r>
              <a:rPr lang="en-ZA" sz="1100" dirty="0"/>
              <a:t>Work Breakdown Structure</a:t>
            </a:r>
          </a:p>
          <a:p>
            <a:pPr marL="171450" indent="-171450">
              <a:buFont typeface="Arial" panose="020B0604020202020204" pitchFamily="34" charset="0"/>
              <a:buChar char="•"/>
            </a:pPr>
            <a:r>
              <a:rPr lang="en-ZA" sz="1100" dirty="0"/>
              <a:t>Detailed specifications</a:t>
            </a:r>
          </a:p>
          <a:p>
            <a:pPr marL="171450" indent="-171450">
              <a:buFont typeface="Arial" panose="020B0604020202020204" pitchFamily="34" charset="0"/>
              <a:buChar char="•"/>
            </a:pPr>
            <a:r>
              <a:rPr lang="en-ZA" sz="1100" dirty="0"/>
              <a:t>Milestone schedule</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2" name="TextBox 21"/>
          <p:cNvSpPr txBox="1"/>
          <p:nvPr/>
        </p:nvSpPr>
        <p:spPr>
          <a:xfrm>
            <a:off x="6107918" y="39637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Project Schedule</a:t>
            </a:r>
          </a:p>
          <a:p>
            <a:pPr marL="171450" indent="-171450">
              <a:buFont typeface="Arial" panose="020B0604020202020204" pitchFamily="34" charset="0"/>
              <a:buChar char="•"/>
            </a:pPr>
            <a:r>
              <a:rPr lang="en-ZA" sz="1100" dirty="0"/>
              <a:t>Project meeting reports</a:t>
            </a:r>
          </a:p>
          <a:p>
            <a:pPr marL="171450" indent="-171450">
              <a:buFont typeface="Arial" panose="020B0604020202020204" pitchFamily="34" charset="0"/>
              <a:buChar char="•"/>
            </a:pPr>
            <a:r>
              <a:rPr lang="en-ZA" sz="1100" dirty="0"/>
              <a:t>Issue and Risk Log</a:t>
            </a:r>
          </a:p>
          <a:p>
            <a:pPr marL="171450" indent="-171450">
              <a:buFont typeface="Arial" panose="020B0604020202020204" pitchFamily="34" charset="0"/>
              <a:buChar char="•"/>
            </a:pPr>
            <a:r>
              <a:rPr lang="en-ZA" sz="1100" dirty="0"/>
              <a:t>Schedule of performance</a:t>
            </a:r>
          </a:p>
          <a:p>
            <a:endParaRPr lang="en-ZA" sz="1100" dirty="0"/>
          </a:p>
          <a:p>
            <a:endParaRPr lang="en-ZA" sz="1100" dirty="0"/>
          </a:p>
        </p:txBody>
      </p:sp>
      <p:sp>
        <p:nvSpPr>
          <p:cNvPr id="23" name="TextBox 22"/>
          <p:cNvSpPr txBox="1"/>
          <p:nvPr/>
        </p:nvSpPr>
        <p:spPr>
          <a:xfrm>
            <a:off x="7698826" y="3963739"/>
            <a:ext cx="1496169" cy="769441"/>
          </a:xfrm>
          <a:prstGeom prst="rect">
            <a:avLst/>
          </a:prstGeom>
          <a:noFill/>
        </p:spPr>
        <p:txBody>
          <a:bodyPr wrap="square" rtlCol="0">
            <a:spAutoFit/>
          </a:bodyPr>
          <a:lstStyle/>
          <a:p>
            <a:pPr marL="171450" indent="-171450">
              <a:buFont typeface="Arial" panose="020B0604020202020204" pitchFamily="34" charset="0"/>
              <a:buChar char="•"/>
            </a:pPr>
            <a:r>
              <a:rPr lang="en-ZA" sz="1100" dirty="0"/>
              <a:t>Test Plan</a:t>
            </a:r>
          </a:p>
          <a:p>
            <a:pPr marL="171450" indent="-171450">
              <a:buFont typeface="Arial" panose="020B0604020202020204" pitchFamily="34" charset="0"/>
              <a:buChar char="•"/>
            </a:pPr>
            <a:r>
              <a:rPr lang="en-ZA" sz="1100" dirty="0"/>
              <a:t>Snag List</a:t>
            </a:r>
          </a:p>
          <a:p>
            <a:pPr marL="171450" indent="-171450">
              <a:buFont typeface="Arial" panose="020B0604020202020204" pitchFamily="34" charset="0"/>
              <a:buChar char="•"/>
            </a:pPr>
            <a:r>
              <a:rPr lang="en-ZA" sz="1100" dirty="0"/>
              <a:t>Handover Plan</a:t>
            </a:r>
          </a:p>
          <a:p>
            <a:pPr marL="171450" indent="-171450">
              <a:buFont typeface="Arial" panose="020B0604020202020204" pitchFamily="34" charset="0"/>
              <a:buChar char="•"/>
            </a:pPr>
            <a:r>
              <a:rPr lang="en-ZA" sz="1100" dirty="0"/>
              <a:t>Close out report</a:t>
            </a:r>
          </a:p>
          <a:p>
            <a:endParaRPr lang="en-ZA" sz="1100" dirty="0"/>
          </a:p>
        </p:txBody>
      </p:sp>
    </p:spTree>
    <p:extLst>
      <p:ext uri="{BB962C8B-B14F-4D97-AF65-F5344CB8AC3E}">
        <p14:creationId xmlns:p14="http://schemas.microsoft.com/office/powerpoint/2010/main" val="3205679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C PPT Template WHITE 5">
  <a:themeElements>
    <a:clrScheme name="Custom 95">
      <a:dk1>
        <a:srgbClr val="000000"/>
      </a:dk1>
      <a:lt1>
        <a:srgbClr val="FFFFFF"/>
      </a:lt1>
      <a:dk2>
        <a:srgbClr val="F8F8F8"/>
      </a:dk2>
      <a:lt2>
        <a:srgbClr val="C0C0C0"/>
      </a:lt2>
      <a:accent1>
        <a:srgbClr val="993399"/>
      </a:accent1>
      <a:accent2>
        <a:srgbClr val="003344"/>
      </a:accent2>
      <a:accent3>
        <a:srgbClr val="00AA99"/>
      </a:accent3>
      <a:accent4>
        <a:srgbClr val="6688BB"/>
      </a:accent4>
      <a:accent5>
        <a:srgbClr val="666666"/>
      </a:accent5>
      <a:accent6>
        <a:srgbClr val="999977"/>
      </a:accent6>
      <a:hlink>
        <a:srgbClr val="AA1133"/>
      </a:hlink>
      <a:folHlink>
        <a:srgbClr val="AA11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F1E6124384927649BF1AFF876B2F1999" ma:contentTypeVersion="0" ma:contentTypeDescription="General Contribution" ma:contentTypeScope="" ma:versionID="ce52943ddbf70691cac44e601a4905ba">
  <xsd:schema xmlns:xsd="http://www.w3.org/2001/XMLSchema" xmlns:p="http://schemas.microsoft.com/office/2006/metadata/properties" xmlns:ns1="http://schemas.microsoft.com/sharepoint/v3" targetNamespace="http://schemas.microsoft.com/office/2006/metadata/properties" ma:root="true" ma:fieldsID="067584f02ae84bc10e6ceaa2138135ea"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FederalData" minOccurs="0"/>
                <xsd:element ref="ns1:VisibleToAsset" minOccurs="0"/>
                <xsd:element ref="ns1:OfficialAsset" minOccurs="0"/>
                <xsd:element ref="ns1:RestrictedClient" minOccurs="0"/>
                <xsd:element ref="ns1:RelatedContent" minOccurs="0"/>
                <xsd:element ref="ns1:SourceType" minOccurs="0"/>
                <xsd:element ref="ns1:KXThumbnailURL"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FederalData" ma:index="35" nillable="true" ma:displayName="Federal Data" ma:internalName="FederalData">
      <xsd:simpleType>
        <xsd:restriction base="dms:Text"/>
      </xsd:simpleType>
    </xsd:element>
    <xsd:element name="VisibleToAsset" ma:index="36" nillable="true" ma:displayName="Visible To Asset" ma:internalName="VisibleToAsset">
      <xsd:simpleType>
        <xsd:restriction base="dms:Text"/>
      </xsd:simpleType>
    </xsd:element>
    <xsd:element name="OfficialAsset" ma:index="37" nillable="true" ma:displayName="Official Asset" ma:internalName="OfficialAsset">
      <xsd:simpleType>
        <xsd:restriction base="dms:Text"/>
      </xsd:simpleType>
    </xsd:element>
    <xsd:element name="RestrictedClient" ma:index="38" nillable="true" ma:displayName="Confidential Client" ma:internalName="RestrictedClient">
      <xsd:simpleType>
        <xsd:restriction base="dms:Text"/>
      </xsd:simpleType>
    </xsd:element>
    <xsd:element name="RelatedContent" ma:index="39" nillable="true" ma:displayName="Related Content" ma:internalName="RelatedContent">
      <xsd:simpleType>
        <xsd:restriction base="dms:Note"/>
      </xsd:simpleType>
    </xsd:element>
    <xsd:element name="SourceType" ma:index="40" nillable="true" ma:displayName="SourceType" ma:internalName="SourceType">
      <xsd:simpleType>
        <xsd:restriction base="dms:Text"/>
      </xsd:simpleType>
    </xsd:element>
    <xsd:element name="KXThumbnailURL" ma:index="41" nillable="true" ma:displayName="KX Thumbnail URL" ma:internalName="KXThumbnailURL">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ArchiveDate xmlns="http://schemas.microsoft.com/sharepoint/v3">2014-10-04T05:40:45+00:00</ArchiveDate>
    <EngagementLink xmlns="http://schemas.microsoft.com/sharepoint/v3" xsi:nil="true"/>
    <PertinentToCountry xmlns="http://schemas.microsoft.com/sharepoint/v3" xsi:nil="true"/>
    <Client xmlns="http://schemas.microsoft.com/sharepoint/v3" xsi:nil="true"/>
    <flagVVID xmlns="http://schemas.microsoft.com/sharepoint/v3" xsi:nil="true"/>
    <Abstract xmlns="http://schemas.microsoft.com/sharepoint/v3">A brief introduction to Structured Problem Solving and key differences in using hypothesis trees as opposed to issue trees.</Abstract>
    <ContentCurrentDate xmlns="http://schemas.microsoft.com/sharepoint/v3">2012-10-04T05:40:45+00:00</ContentCurrentDate>
    <DateCreated xmlns="http://schemas.microsoft.com/sharepoint/v3">2012-09-10T17:52:08+00:00</DateCreated>
    <OfficialAsset xmlns="http://schemas.microsoft.com/sharepoint/v3">No</OfficialAsset>
    <ArchiveStatus xmlns="http://schemas.microsoft.com/sharepoint/v3">Active</ArchiveStatus>
    <IndustryKeywords xmlns="http://schemas.microsoft.com/sharepoint/v3">;#0;~None</IndustryKeywords>
    <VendorProductKeywords xmlns="http://schemas.microsoft.com/sharepoint/v3">;#0;~None</VendorProductKeywords>
    <RevisionTime xmlns="http://schemas.microsoft.com/sharepoint/v3">4/18/2014 1:04:02 AM&lt;br&gt;3/10/2014 4:33:16 AM&lt;br&gt;10/4/2012 12:40:45 AM&lt;br&gt;9/10/2012 12:52:08 PM</RevisionTime>
    <Contacts xmlns="http://schemas.microsoft.com/sharepoint/v3">DIR\johan.khoo,DIR\isaac.yong</Contacts>
    <ItemType xmlns="http://schemas.microsoft.com/sharepoint/v3">;#13990;~Software and Tools</ItemType>
    <Offerings xmlns="http://schemas.microsoft.com/sharepoint/v3" xsi:nil="true"/>
    <ApprovedForUseBy xmlns="http://schemas.microsoft.com/sharepoint/v3" xsi:nil="true"/>
    <SubmittedBy xmlns="http://schemas.microsoft.com/sharepoint/v3">DIR\min.loon.yong</SubmittedBy>
    <HasAttachment xmlns="http://schemas.microsoft.com/sharepoint/v3">No</HasAttachment>
    <ArchivalDate xmlns="http://schemas.microsoft.com/sharepoint/v3" xsi:nil="true"/>
    <DeliveryCenter xmlns="http://schemas.microsoft.com/sharepoint/v3" xsi:nil="true"/>
    <ContribKeywords xmlns="http://schemas.microsoft.com/sharepoint/v3" xsi:nil="true"/>
    <StorageType xmlns="http://schemas.microsoft.com/sharepoint/v3">File</StorageType>
    <RevisionBy xmlns="http://schemas.microsoft.com/sharepoint/v3">kx.massupdate&lt;br&gt;kx.massupdate&lt;br&gt;kx.massupdate&lt;br&gt;DIR\min.loon.yong</RevisionBy>
    <VisibleToAsset xmlns="http://schemas.microsoft.com/sharepoint/v3" xsi:nil="true"/>
    <BusinessFunctionKeywords xmlns="http://schemas.microsoft.com/sharepoint/v3">;#0;~None</BusinessFunctionKeywords>
    <ConditionsforUse xmlns="http://schemas.microsoft.com/sharepoint/v3">Accenture Internal Use Only</ConditionsforUse>
    <DetailsPageURL2 xmlns="http://schemas.microsoft.com/sharepoint/v3">https://kx.accenture.com/repositories/DownloadForm.aspx?path=C24/45/39/Structured%20Problem%20Solving%20-%20Issue%20Trees%20vs%20Hypothesis%20Trees.pptx</DetailsPageURL2>
    <FederalData xmlns="http://schemas.microsoft.com/sharepoint/v3">No</FederalData>
    <KXGeography xmlns="http://schemas.microsoft.com/sharepoint/v3" xsi:nil="true"/>
    <ConditionsforUseComments xmlns="http://schemas.microsoft.com/sharepoint/v3" xsi:nil="true"/>
    <TechnologyKeywords xmlns="http://schemas.microsoft.com/sharepoint/v3">;#0;~None</TechnologyKeywords>
    <PertinentToOrgUnit xmlns="http://schemas.microsoft.com/sharepoint/v3" xsi:nil="true"/>
    <DetailsPageURL xmlns="http://schemas.microsoft.com/sharepoint/v3">https://kx.accenture.com/repositories/ContributionForm.aspx?path=C24/45/39&amp;mode=Read</DetailsPageURL>
    <ContribLanguage xmlns="http://schemas.microsoft.com/sharepoint/v3">;#4628;~English</ContribLanguage>
    <RelatedContent xmlns="http://schemas.microsoft.com/sharepoint/v3" xsi:nil="true"/>
    <SourceType xmlns="http://schemas.microsoft.com/sharepoint/v3" xsi:nil="true"/>
    <KXThumbnailURL xmlns="http://schemas.microsoft.com/sharepoint/v3">https://kx.accenture.com/KXServices/KXHandler.ashx?s=g&amp;tn=repositories/C24/45/39&amp;isActual=false</KXThumbnailURL>
    <RestrictedClient xmlns="http://schemas.microsoft.com/sharepoint/v3" xsi:nil="true"/>
  </documentManagement>
</p:properties>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4ABA3C2E-DE54-45F5-98D5-38DCD02D77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15E98258-9F21-4308-867D-5B2143A44579}">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756504B-2F41-4318-96D0-428A3A4296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6631</TotalTime>
  <Words>1458</Words>
  <Application>Microsoft Office PowerPoint</Application>
  <PresentationFormat>On-screen Show (4:3)</PresentationFormat>
  <Paragraphs>233</Paragraphs>
  <Slides>13</Slides>
  <Notes>4</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6" baseType="lpstr">
      <vt:lpstr>Arial</vt:lpstr>
      <vt:lpstr>AMC PPT Template WHITE 5</vt:lpstr>
      <vt:lpstr>think-cell Slide</vt:lpstr>
      <vt:lpstr>What is a project</vt:lpstr>
      <vt:lpstr>Q1. Which is not a project?</vt:lpstr>
      <vt:lpstr>The Operational Environment</vt:lpstr>
      <vt:lpstr>Role of the project manager</vt:lpstr>
      <vt:lpstr>Activity 1: </vt:lpstr>
      <vt:lpstr>Driving forces for project management</vt:lpstr>
      <vt:lpstr>Reasons for project planning</vt:lpstr>
      <vt:lpstr>Life Cycle Phases for Project Management</vt:lpstr>
      <vt:lpstr>Project Management Lifecycle Planning </vt:lpstr>
      <vt:lpstr>Important documents in project planning</vt:lpstr>
      <vt:lpstr>Important documents in project planning</vt:lpstr>
      <vt:lpstr>Important documents in project planning</vt:lpstr>
      <vt:lpstr>Important documents in project planning</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uctured Problem Solving - Issue Trees versus Hypothesis Trees</dc:title>
  <dc:creator>Accenture</dc:creator>
  <dc:description>Accenture Sample Presentation v9.1</dc:description>
  <cp:lastModifiedBy>Singh, Rishen A.</cp:lastModifiedBy>
  <cp:revision>1652</cp:revision>
  <cp:lastPrinted>2000-08-10T20:43:38Z</cp:lastPrinted>
  <dcterms:created xsi:type="dcterms:W3CDTF">2009-12-02T02:35:01Z</dcterms:created>
  <dcterms:modified xsi:type="dcterms:W3CDTF">2017-02-25T05:54:18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2000FD200C85A7BB46D2B974A85017C5AC2B0100F1E6124384927649BF1AFF876B2F1999</vt:lpwstr>
  </property>
  <property fmtid="{D5CDD505-2E9C-101B-9397-08002B2CF9AE}" pid="4" name="TaxKeyword">
    <vt:lpwstr/>
  </property>
  <property fmtid="{D5CDD505-2E9C-101B-9397-08002B2CF9AE}" pid="5" name="TaxKeywordTaxHTField">
    <vt:lpwstr/>
  </property>
</Properties>
</file>